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5"/>
    <p:sldMasterId id="2147483690" r:id="rId6"/>
  </p:sldMasterIdLst>
  <p:notesMasterIdLst>
    <p:notesMasterId r:id="rId14"/>
  </p:notesMasterIdLst>
  <p:handoutMasterIdLst>
    <p:handoutMasterId r:id="rId15"/>
  </p:handoutMasterIdLst>
  <p:sldIdLst>
    <p:sldId id="434" r:id="rId7"/>
    <p:sldId id="465" r:id="rId8"/>
    <p:sldId id="386" r:id="rId9"/>
    <p:sldId id="466" r:id="rId10"/>
    <p:sldId id="467" r:id="rId11"/>
    <p:sldId id="468" r:id="rId12"/>
    <p:sldId id="469" r:id="rId13"/>
  </p:sldIdLst>
  <p:sldSz cx="12192000" cy="6858000"/>
  <p:notesSz cx="9906000" cy="67945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2A7D"/>
    <a:srgbClr val="008C5A"/>
    <a:srgbClr val="E71401"/>
    <a:srgbClr val="FFC000"/>
    <a:srgbClr val="3398BE"/>
    <a:srgbClr val="55BD5A"/>
    <a:srgbClr val="AEDFB1"/>
    <a:srgbClr val="007635"/>
    <a:srgbClr val="00B050"/>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534C45-426A-4ECA-8B95-24710030D2C6}" v="66" dt="2026-02-11T08:31:57.294"/>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Stile medio 1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Stile chiaro 3 - Color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29" autoAdjust="0"/>
    <p:restoredTop sz="94660"/>
  </p:normalViewPr>
  <p:slideViewPr>
    <p:cSldViewPr snapToGrid="0">
      <p:cViewPr varScale="1">
        <p:scale>
          <a:sx n="105" d="100"/>
          <a:sy n="105" d="100"/>
        </p:scale>
        <p:origin x="630" y="9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otto Marco (EGP&amp;TGX HGT)" userId="f3e8abcc-75f0-4ec6-8896-161a18bf1ff5" providerId="ADAL" clId="{AAD5E035-7C47-4E88-AB2C-CB7B44456A98}"/>
    <pc:docChg chg="undo custSel addSld delSld modSld sldOrd">
      <pc:chgData name="Olivotto Marco (EGP&amp;TGX HGT)" userId="f3e8abcc-75f0-4ec6-8896-161a18bf1ff5" providerId="ADAL" clId="{AAD5E035-7C47-4E88-AB2C-CB7B44456A98}" dt="2026-02-11T09:12:00.859" v="12232" actId="20577"/>
      <pc:docMkLst>
        <pc:docMk/>
      </pc:docMkLst>
      <pc:sldChg chg="addSp delSp modSp mod">
        <pc:chgData name="Olivotto Marco (EGP&amp;TGX HGT)" userId="f3e8abcc-75f0-4ec6-8896-161a18bf1ff5" providerId="ADAL" clId="{AAD5E035-7C47-4E88-AB2C-CB7B44456A98}" dt="2026-02-10T14:28:46.218" v="2922" actId="1076"/>
        <pc:sldMkLst>
          <pc:docMk/>
          <pc:sldMk cId="4177291136" sldId="386"/>
        </pc:sldMkLst>
        <pc:spChg chg="add mod topLvl">
          <ac:chgData name="Olivotto Marco (EGP&amp;TGX HGT)" userId="f3e8abcc-75f0-4ec6-8896-161a18bf1ff5" providerId="ADAL" clId="{AAD5E035-7C47-4E88-AB2C-CB7B44456A98}" dt="2026-02-10T14:26:40.979" v="2821" actId="1076"/>
          <ac:spMkLst>
            <pc:docMk/>
            <pc:sldMk cId="4177291136" sldId="386"/>
            <ac:spMk id="2" creationId="{3B53401D-F816-64DD-387B-86B4F1406FF3}"/>
          </ac:spMkLst>
        </pc:spChg>
        <pc:spChg chg="add mod">
          <ac:chgData name="Olivotto Marco (EGP&amp;TGX HGT)" userId="f3e8abcc-75f0-4ec6-8896-161a18bf1ff5" providerId="ADAL" clId="{AAD5E035-7C47-4E88-AB2C-CB7B44456A98}" dt="2026-02-10T14:28:33.608" v="2920" actId="1076"/>
          <ac:spMkLst>
            <pc:docMk/>
            <pc:sldMk cId="4177291136" sldId="386"/>
            <ac:spMk id="3" creationId="{5B5C99D2-6C92-A966-8BAB-3F69941538D5}"/>
          </ac:spMkLst>
        </pc:spChg>
        <pc:spChg chg="add mod ord">
          <ac:chgData name="Olivotto Marco (EGP&amp;TGX HGT)" userId="f3e8abcc-75f0-4ec6-8896-161a18bf1ff5" providerId="ADAL" clId="{AAD5E035-7C47-4E88-AB2C-CB7B44456A98}" dt="2026-02-10T14:28:24.935" v="2919" actId="167"/>
          <ac:spMkLst>
            <pc:docMk/>
            <pc:sldMk cId="4177291136" sldId="386"/>
            <ac:spMk id="5" creationId="{9C1961E6-4600-96B7-B8C8-3C0F332D4189}"/>
          </ac:spMkLst>
        </pc:spChg>
        <pc:spChg chg="mod">
          <ac:chgData name="Olivotto Marco (EGP&amp;TGX HGT)" userId="f3e8abcc-75f0-4ec6-8896-161a18bf1ff5" providerId="ADAL" clId="{AAD5E035-7C47-4E88-AB2C-CB7B44456A98}" dt="2026-02-05T12:18:36.094" v="60" actId="20577"/>
          <ac:spMkLst>
            <pc:docMk/>
            <pc:sldMk cId="4177291136" sldId="386"/>
            <ac:spMk id="7" creationId="{00000000-0000-0000-0000-000000000000}"/>
          </ac:spMkLst>
        </pc:spChg>
        <pc:spChg chg="mod">
          <ac:chgData name="Olivotto Marco (EGP&amp;TGX HGT)" userId="f3e8abcc-75f0-4ec6-8896-161a18bf1ff5" providerId="ADAL" clId="{AAD5E035-7C47-4E88-AB2C-CB7B44456A98}" dt="2026-02-05T12:25:07.381" v="275" actId="20577"/>
          <ac:spMkLst>
            <pc:docMk/>
            <pc:sldMk cId="4177291136" sldId="386"/>
            <ac:spMk id="8" creationId="{00000000-0000-0000-0000-000000000000}"/>
          </ac:spMkLst>
        </pc:spChg>
        <pc:spChg chg="add mod topLvl">
          <ac:chgData name="Olivotto Marco (EGP&amp;TGX HGT)" userId="f3e8abcc-75f0-4ec6-8896-161a18bf1ff5" providerId="ADAL" clId="{AAD5E035-7C47-4E88-AB2C-CB7B44456A98}" dt="2026-02-10T14:25:27.776" v="2781" actId="165"/>
          <ac:spMkLst>
            <pc:docMk/>
            <pc:sldMk cId="4177291136" sldId="386"/>
            <ac:spMk id="13" creationId="{0BC120F8-0C62-ACC2-64DF-DE4354DA77E0}"/>
          </ac:spMkLst>
        </pc:spChg>
        <pc:spChg chg="add mod">
          <ac:chgData name="Olivotto Marco (EGP&amp;TGX HGT)" userId="f3e8abcc-75f0-4ec6-8896-161a18bf1ff5" providerId="ADAL" clId="{AAD5E035-7C47-4E88-AB2C-CB7B44456A98}" dt="2026-02-05T14:24:45.146" v="634" actId="164"/>
          <ac:spMkLst>
            <pc:docMk/>
            <pc:sldMk cId="4177291136" sldId="386"/>
            <ac:spMk id="14" creationId="{6ED89D44-AC09-1602-0553-47EBB9C225B8}"/>
          </ac:spMkLst>
        </pc:spChg>
        <pc:spChg chg="add mod">
          <ac:chgData name="Olivotto Marco (EGP&amp;TGX HGT)" userId="f3e8abcc-75f0-4ec6-8896-161a18bf1ff5" providerId="ADAL" clId="{AAD5E035-7C47-4E88-AB2C-CB7B44456A98}" dt="2026-02-05T12:38:14.594" v="493" actId="1582"/>
          <ac:spMkLst>
            <pc:docMk/>
            <pc:sldMk cId="4177291136" sldId="386"/>
            <ac:spMk id="17" creationId="{54C3B9C8-9863-7488-29B7-745209209144}"/>
          </ac:spMkLst>
        </pc:spChg>
        <pc:grpChg chg="add mod">
          <ac:chgData name="Olivotto Marco (EGP&amp;TGX HGT)" userId="f3e8abcc-75f0-4ec6-8896-161a18bf1ff5" providerId="ADAL" clId="{AAD5E035-7C47-4E88-AB2C-CB7B44456A98}" dt="2026-02-10T14:28:46.218" v="2922" actId="1076"/>
          <ac:grpSpMkLst>
            <pc:docMk/>
            <pc:sldMk cId="4177291136" sldId="386"/>
            <ac:grpSpMk id="4" creationId="{1DB3DD9E-BEF7-8996-6527-2B036C1DBC47}"/>
          </ac:grpSpMkLst>
        </pc:grpChg>
        <pc:grpChg chg="add del mod">
          <ac:chgData name="Olivotto Marco (EGP&amp;TGX HGT)" userId="f3e8abcc-75f0-4ec6-8896-161a18bf1ff5" providerId="ADAL" clId="{AAD5E035-7C47-4E88-AB2C-CB7B44456A98}" dt="2026-02-10T14:25:27.776" v="2781" actId="165"/>
          <ac:grpSpMkLst>
            <pc:docMk/>
            <pc:sldMk cId="4177291136" sldId="386"/>
            <ac:grpSpMk id="12" creationId="{3762B20D-70C7-8A24-C29B-0E07B8D3C0C3}"/>
          </ac:grpSpMkLst>
        </pc:grpChg>
        <pc:picChg chg="add mod">
          <ac:chgData name="Olivotto Marco (EGP&amp;TGX HGT)" userId="f3e8abcc-75f0-4ec6-8896-161a18bf1ff5" providerId="ADAL" clId="{AAD5E035-7C47-4E88-AB2C-CB7B44456A98}" dt="2026-02-05T12:36:27.024" v="488" actId="108"/>
          <ac:picMkLst>
            <pc:docMk/>
            <pc:sldMk cId="4177291136" sldId="386"/>
            <ac:picMk id="16" creationId="{60BA4965-EE24-6115-5211-21CC33E973CD}"/>
          </ac:picMkLst>
        </pc:picChg>
      </pc:sldChg>
      <pc:sldChg chg="modSp mod">
        <pc:chgData name="Olivotto Marco (EGP&amp;TGX HGT)" userId="f3e8abcc-75f0-4ec6-8896-161a18bf1ff5" providerId="ADAL" clId="{AAD5E035-7C47-4E88-AB2C-CB7B44456A98}" dt="2026-02-05T12:17:46.898" v="19" actId="20577"/>
        <pc:sldMkLst>
          <pc:docMk/>
          <pc:sldMk cId="3001642894" sldId="434"/>
        </pc:sldMkLst>
        <pc:spChg chg="mod">
          <ac:chgData name="Olivotto Marco (EGP&amp;TGX HGT)" userId="f3e8abcc-75f0-4ec6-8896-161a18bf1ff5" providerId="ADAL" clId="{AAD5E035-7C47-4E88-AB2C-CB7B44456A98}" dt="2026-02-05T12:17:32.009" v="0" actId="20577"/>
          <ac:spMkLst>
            <pc:docMk/>
            <pc:sldMk cId="3001642894" sldId="434"/>
            <ac:spMk id="2" creationId="{00000000-0000-0000-0000-000000000000}"/>
          </ac:spMkLst>
        </pc:spChg>
        <pc:spChg chg="mod">
          <ac:chgData name="Olivotto Marco (EGP&amp;TGX HGT)" userId="f3e8abcc-75f0-4ec6-8896-161a18bf1ff5" providerId="ADAL" clId="{AAD5E035-7C47-4E88-AB2C-CB7B44456A98}" dt="2026-02-05T12:17:46.898" v="19" actId="20577"/>
          <ac:spMkLst>
            <pc:docMk/>
            <pc:sldMk cId="3001642894" sldId="434"/>
            <ac:spMk id="5" creationId="{00000000-0000-0000-0000-000000000000}"/>
          </ac:spMkLst>
        </pc:spChg>
      </pc:sldChg>
      <pc:sldChg chg="addSp modSp add mod ord">
        <pc:chgData name="Olivotto Marco (EGP&amp;TGX HGT)" userId="f3e8abcc-75f0-4ec6-8896-161a18bf1ff5" providerId="ADAL" clId="{AAD5E035-7C47-4E88-AB2C-CB7B44456A98}" dt="2026-02-10T14:19:01.342" v="2732" actId="1076"/>
        <pc:sldMkLst>
          <pc:docMk/>
          <pc:sldMk cId="1959663923" sldId="465"/>
        </pc:sldMkLst>
        <pc:spChg chg="add mod">
          <ac:chgData name="Olivotto Marco (EGP&amp;TGX HGT)" userId="f3e8abcc-75f0-4ec6-8896-161a18bf1ff5" providerId="ADAL" clId="{AAD5E035-7C47-4E88-AB2C-CB7B44456A98}" dt="2026-02-05T12:20:56.080" v="151" actId="208"/>
          <ac:spMkLst>
            <pc:docMk/>
            <pc:sldMk cId="1959663923" sldId="465"/>
            <ac:spMk id="4" creationId="{F7E83AE7-966F-6876-B2A1-97055EDCC64B}"/>
          </ac:spMkLst>
        </pc:spChg>
        <pc:spChg chg="add mod">
          <ac:chgData name="Olivotto Marco (EGP&amp;TGX HGT)" userId="f3e8abcc-75f0-4ec6-8896-161a18bf1ff5" providerId="ADAL" clId="{AAD5E035-7C47-4E88-AB2C-CB7B44456A98}" dt="2026-02-05T12:21:14.297" v="154" actId="14100"/>
          <ac:spMkLst>
            <pc:docMk/>
            <pc:sldMk cId="1959663923" sldId="465"/>
            <ac:spMk id="5" creationId="{E6A3F075-2D06-C278-EF85-71050194C664}"/>
          </ac:spMkLst>
        </pc:spChg>
        <pc:graphicFrameChg chg="add mod modGraphic">
          <ac:chgData name="Olivotto Marco (EGP&amp;TGX HGT)" userId="f3e8abcc-75f0-4ec6-8896-161a18bf1ff5" providerId="ADAL" clId="{AAD5E035-7C47-4E88-AB2C-CB7B44456A98}" dt="2026-02-10T14:18:59.172" v="2731" actId="20577"/>
          <ac:graphicFrameMkLst>
            <pc:docMk/>
            <pc:sldMk cId="1959663923" sldId="465"/>
            <ac:graphicFrameMk id="3" creationId="{4A635C03-CB28-91A6-2F0B-08C4ADCD4460}"/>
          </ac:graphicFrameMkLst>
        </pc:graphicFrameChg>
        <pc:picChg chg="add mod">
          <ac:chgData name="Olivotto Marco (EGP&amp;TGX HGT)" userId="f3e8abcc-75f0-4ec6-8896-161a18bf1ff5" providerId="ADAL" clId="{AAD5E035-7C47-4E88-AB2C-CB7B44456A98}" dt="2026-02-10T14:19:01.342" v="2732" actId="1076"/>
          <ac:picMkLst>
            <pc:docMk/>
            <pc:sldMk cId="1959663923" sldId="465"/>
            <ac:picMk id="2" creationId="{50163A0B-1ACE-0560-C6DC-6B54A164397E}"/>
          </ac:picMkLst>
        </pc:picChg>
      </pc:sldChg>
      <pc:sldChg chg="addSp delSp modSp add mod">
        <pc:chgData name="Olivotto Marco (EGP&amp;TGX HGT)" userId="f3e8abcc-75f0-4ec6-8896-161a18bf1ff5" providerId="ADAL" clId="{AAD5E035-7C47-4E88-AB2C-CB7B44456A98}" dt="2026-02-11T07:10:28.866" v="7701" actId="1076"/>
        <pc:sldMkLst>
          <pc:docMk/>
          <pc:sldMk cId="690926975" sldId="466"/>
        </pc:sldMkLst>
        <pc:spChg chg="add del mod">
          <ac:chgData name="Olivotto Marco (EGP&amp;TGX HGT)" userId="f3e8abcc-75f0-4ec6-8896-161a18bf1ff5" providerId="ADAL" clId="{AAD5E035-7C47-4E88-AB2C-CB7B44456A98}" dt="2026-02-10T14:20:29.034" v="2733" actId="478"/>
          <ac:spMkLst>
            <pc:docMk/>
            <pc:sldMk cId="690926975" sldId="466"/>
            <ac:spMk id="3" creationId="{A4F548A5-1C65-83A0-7B0B-825B5AEB28CA}"/>
          </ac:spMkLst>
        </pc:spChg>
        <pc:spChg chg="add mod">
          <ac:chgData name="Olivotto Marco (EGP&amp;TGX HGT)" userId="f3e8abcc-75f0-4ec6-8896-161a18bf1ff5" providerId="ADAL" clId="{AAD5E035-7C47-4E88-AB2C-CB7B44456A98}" dt="2026-02-10T14:24:03.284" v="2770" actId="207"/>
          <ac:spMkLst>
            <pc:docMk/>
            <pc:sldMk cId="690926975" sldId="466"/>
            <ac:spMk id="5" creationId="{C6B49302-D3A5-6C5F-393A-04CC47F23ED0}"/>
          </ac:spMkLst>
        </pc:spChg>
        <pc:spChg chg="add mod">
          <ac:chgData name="Olivotto Marco (EGP&amp;TGX HGT)" userId="f3e8abcc-75f0-4ec6-8896-161a18bf1ff5" providerId="ADAL" clId="{AAD5E035-7C47-4E88-AB2C-CB7B44456A98}" dt="2026-02-10T14:52:22.766" v="5428" actId="20577"/>
          <ac:spMkLst>
            <pc:docMk/>
            <pc:sldMk cId="690926975" sldId="466"/>
            <ac:spMk id="6" creationId="{39B29D9A-14C5-9DB9-9F93-5D7FA65DD24D}"/>
          </ac:spMkLst>
        </pc:spChg>
        <pc:spChg chg="mod">
          <ac:chgData name="Olivotto Marco (EGP&amp;TGX HGT)" userId="f3e8abcc-75f0-4ec6-8896-161a18bf1ff5" providerId="ADAL" clId="{AAD5E035-7C47-4E88-AB2C-CB7B44456A98}" dt="2026-02-10T14:21:16.170" v="2753" actId="20577"/>
          <ac:spMkLst>
            <pc:docMk/>
            <pc:sldMk cId="690926975" sldId="466"/>
            <ac:spMk id="8" creationId="{60F96DBB-C2E5-3E60-25AF-1F01A4971302}"/>
          </ac:spMkLst>
        </pc:spChg>
        <pc:spChg chg="mod">
          <ac:chgData name="Olivotto Marco (EGP&amp;TGX HGT)" userId="f3e8abcc-75f0-4ec6-8896-161a18bf1ff5" providerId="ADAL" clId="{AAD5E035-7C47-4E88-AB2C-CB7B44456A98}" dt="2026-02-10T14:24:27.716" v="2772"/>
          <ac:spMkLst>
            <pc:docMk/>
            <pc:sldMk cId="690926975" sldId="466"/>
            <ac:spMk id="10" creationId="{F87A405D-0F4A-E699-1B34-BF20E3304F1C}"/>
          </ac:spMkLst>
        </pc:spChg>
        <pc:spChg chg="mod">
          <ac:chgData name="Olivotto Marco (EGP&amp;TGX HGT)" userId="f3e8abcc-75f0-4ec6-8896-161a18bf1ff5" providerId="ADAL" clId="{AAD5E035-7C47-4E88-AB2C-CB7B44456A98}" dt="2026-02-10T14:24:56.648" v="2777" actId="20577"/>
          <ac:spMkLst>
            <pc:docMk/>
            <pc:sldMk cId="690926975" sldId="466"/>
            <ac:spMk id="11" creationId="{8C68D7A8-C5D9-E18E-BB46-C84E249BE401}"/>
          </ac:spMkLst>
        </pc:spChg>
        <pc:spChg chg="mod">
          <ac:chgData name="Olivotto Marco (EGP&amp;TGX HGT)" userId="f3e8abcc-75f0-4ec6-8896-161a18bf1ff5" providerId="ADAL" clId="{AAD5E035-7C47-4E88-AB2C-CB7B44456A98}" dt="2026-02-10T14:24:34.491" v="2773"/>
          <ac:spMkLst>
            <pc:docMk/>
            <pc:sldMk cId="690926975" sldId="466"/>
            <ac:spMk id="13" creationId="{7868DFFA-C6D5-D6BC-9479-673519EEF850}"/>
          </ac:spMkLst>
        </pc:spChg>
        <pc:spChg chg="mod">
          <ac:chgData name="Olivotto Marco (EGP&amp;TGX HGT)" userId="f3e8abcc-75f0-4ec6-8896-161a18bf1ff5" providerId="ADAL" clId="{AAD5E035-7C47-4E88-AB2C-CB7B44456A98}" dt="2026-02-10T14:24:34.491" v="2773"/>
          <ac:spMkLst>
            <pc:docMk/>
            <pc:sldMk cId="690926975" sldId="466"/>
            <ac:spMk id="14" creationId="{D9F43DC6-FB97-9921-D3E0-FC7E5F3D825D}"/>
          </ac:spMkLst>
        </pc:spChg>
        <pc:spChg chg="add mod">
          <ac:chgData name="Olivotto Marco (EGP&amp;TGX HGT)" userId="f3e8abcc-75f0-4ec6-8896-161a18bf1ff5" providerId="ADAL" clId="{AAD5E035-7C47-4E88-AB2C-CB7B44456A98}" dt="2026-02-10T14:25:15.871" v="2780"/>
          <ac:spMkLst>
            <pc:docMk/>
            <pc:sldMk cId="690926975" sldId="466"/>
            <ac:spMk id="15" creationId="{272C18F9-771D-4B46-AC9C-3E423862CDB9}"/>
          </ac:spMkLst>
        </pc:spChg>
        <pc:spChg chg="add mod">
          <ac:chgData name="Olivotto Marco (EGP&amp;TGX HGT)" userId="f3e8abcc-75f0-4ec6-8896-161a18bf1ff5" providerId="ADAL" clId="{AAD5E035-7C47-4E88-AB2C-CB7B44456A98}" dt="2026-02-10T14:26:27.237" v="2818" actId="20577"/>
          <ac:spMkLst>
            <pc:docMk/>
            <pc:sldMk cId="690926975" sldId="466"/>
            <ac:spMk id="16" creationId="{B09BD122-2D42-B13D-D7F2-E2D2F10E6E26}"/>
          </ac:spMkLst>
        </pc:spChg>
        <pc:spChg chg="add mod">
          <ac:chgData name="Olivotto Marco (EGP&amp;TGX HGT)" userId="f3e8abcc-75f0-4ec6-8896-161a18bf1ff5" providerId="ADAL" clId="{AAD5E035-7C47-4E88-AB2C-CB7B44456A98}" dt="2026-02-10T14:26:33.788" v="2820" actId="14100"/>
          <ac:spMkLst>
            <pc:docMk/>
            <pc:sldMk cId="690926975" sldId="466"/>
            <ac:spMk id="17" creationId="{053FACD3-F005-F789-DCDE-F5162A01161C}"/>
          </ac:spMkLst>
        </pc:spChg>
        <pc:spChg chg="add mod">
          <ac:chgData name="Olivotto Marco (EGP&amp;TGX HGT)" userId="f3e8abcc-75f0-4ec6-8896-161a18bf1ff5" providerId="ADAL" clId="{AAD5E035-7C47-4E88-AB2C-CB7B44456A98}" dt="2026-02-10T14:31:25.935" v="3220" actId="20577"/>
          <ac:spMkLst>
            <pc:docMk/>
            <pc:sldMk cId="690926975" sldId="466"/>
            <ac:spMk id="18" creationId="{4DE449D7-37F9-A553-2962-8963B3E9528C}"/>
          </ac:spMkLst>
        </pc:spChg>
        <pc:spChg chg="add mod">
          <ac:chgData name="Olivotto Marco (EGP&amp;TGX HGT)" userId="f3e8abcc-75f0-4ec6-8896-161a18bf1ff5" providerId="ADAL" clId="{AAD5E035-7C47-4E88-AB2C-CB7B44456A98}" dt="2026-02-11T07:10:28.866" v="7701" actId="1076"/>
          <ac:spMkLst>
            <pc:docMk/>
            <pc:sldMk cId="690926975" sldId="466"/>
            <ac:spMk id="19" creationId="{9AAEC345-92B4-D867-0802-1D48E56E4D90}"/>
          </ac:spMkLst>
        </pc:spChg>
        <pc:grpChg chg="add del mod">
          <ac:chgData name="Olivotto Marco (EGP&amp;TGX HGT)" userId="f3e8abcc-75f0-4ec6-8896-161a18bf1ff5" providerId="ADAL" clId="{AAD5E035-7C47-4E88-AB2C-CB7B44456A98}" dt="2026-02-10T14:25:05.732" v="2778" actId="478"/>
          <ac:grpSpMkLst>
            <pc:docMk/>
            <pc:sldMk cId="690926975" sldId="466"/>
            <ac:grpSpMk id="9" creationId="{80E9E75D-F125-6B37-93D1-17E354865FB0}"/>
          </ac:grpSpMkLst>
        </pc:grpChg>
        <pc:grpChg chg="add del mod">
          <ac:chgData name="Olivotto Marco (EGP&amp;TGX HGT)" userId="f3e8abcc-75f0-4ec6-8896-161a18bf1ff5" providerId="ADAL" clId="{AAD5E035-7C47-4E88-AB2C-CB7B44456A98}" dt="2026-02-10T14:25:07.816" v="2779" actId="478"/>
          <ac:grpSpMkLst>
            <pc:docMk/>
            <pc:sldMk cId="690926975" sldId="466"/>
            <ac:grpSpMk id="12" creationId="{FEF0D4B7-6CAA-30FC-EFB4-DA5213CC787E}"/>
          </ac:grpSpMkLst>
        </pc:grpChg>
        <pc:picChg chg="add mod">
          <ac:chgData name="Olivotto Marco (EGP&amp;TGX HGT)" userId="f3e8abcc-75f0-4ec6-8896-161a18bf1ff5" providerId="ADAL" clId="{AAD5E035-7C47-4E88-AB2C-CB7B44456A98}" dt="2026-02-10T14:23:18.713" v="2765" actId="1076"/>
          <ac:picMkLst>
            <pc:docMk/>
            <pc:sldMk cId="690926975" sldId="466"/>
            <ac:picMk id="4" creationId="{B51E2226-7B41-4F7C-B578-33EC22698D88}"/>
          </ac:picMkLst>
        </pc:picChg>
      </pc:sldChg>
      <pc:sldChg chg="addSp delSp modSp add mod">
        <pc:chgData name="Olivotto Marco (EGP&amp;TGX HGT)" userId="f3e8abcc-75f0-4ec6-8896-161a18bf1ff5" providerId="ADAL" clId="{AAD5E035-7C47-4E88-AB2C-CB7B44456A98}" dt="2026-02-11T08:33:13.237" v="12217" actId="1076"/>
        <pc:sldMkLst>
          <pc:docMk/>
          <pc:sldMk cId="529363595" sldId="467"/>
        </pc:sldMkLst>
        <pc:spChg chg="del">
          <ac:chgData name="Olivotto Marco (EGP&amp;TGX HGT)" userId="f3e8abcc-75f0-4ec6-8896-161a18bf1ff5" providerId="ADAL" clId="{AAD5E035-7C47-4E88-AB2C-CB7B44456A98}" dt="2026-02-10T14:53:58.371" v="5447" actId="478"/>
          <ac:spMkLst>
            <pc:docMk/>
            <pc:sldMk cId="529363595" sldId="467"/>
            <ac:spMk id="5" creationId="{BE89BB7B-282F-18E1-33C9-59A6B71E7679}"/>
          </ac:spMkLst>
        </pc:spChg>
        <pc:spChg chg="mod">
          <ac:chgData name="Olivotto Marco (EGP&amp;TGX HGT)" userId="f3e8abcc-75f0-4ec6-8896-161a18bf1ff5" providerId="ADAL" clId="{AAD5E035-7C47-4E88-AB2C-CB7B44456A98}" dt="2026-02-10T14:58:39.540" v="5574" actId="1076"/>
          <ac:spMkLst>
            <pc:docMk/>
            <pc:sldMk cId="529363595" sldId="467"/>
            <ac:spMk id="6" creationId="{2BB378DA-C24B-6DC6-FB58-A55BA3AA7228}"/>
          </ac:spMkLst>
        </pc:spChg>
        <pc:spChg chg="mod">
          <ac:chgData name="Olivotto Marco (EGP&amp;TGX HGT)" userId="f3e8abcc-75f0-4ec6-8896-161a18bf1ff5" providerId="ADAL" clId="{AAD5E035-7C47-4E88-AB2C-CB7B44456A98}" dt="2026-02-10T15:08:23.177" v="5656" actId="20577"/>
          <ac:spMkLst>
            <pc:docMk/>
            <pc:sldMk cId="529363595" sldId="467"/>
            <ac:spMk id="8" creationId="{5232A414-EB9E-0AFA-6F0D-F39D8198516C}"/>
          </ac:spMkLst>
        </pc:spChg>
        <pc:spChg chg="add del mod">
          <ac:chgData name="Olivotto Marco (EGP&amp;TGX HGT)" userId="f3e8abcc-75f0-4ec6-8896-161a18bf1ff5" providerId="ADAL" clId="{AAD5E035-7C47-4E88-AB2C-CB7B44456A98}" dt="2026-02-10T14:59:06.761" v="5581" actId="478"/>
          <ac:spMkLst>
            <pc:docMk/>
            <pc:sldMk cId="529363595" sldId="467"/>
            <ac:spMk id="9" creationId="{331BFAB9-53E4-5FBE-4220-49176B3A5B9E}"/>
          </ac:spMkLst>
        </pc:spChg>
        <pc:spChg chg="add mod">
          <ac:chgData name="Olivotto Marco (EGP&amp;TGX HGT)" userId="f3e8abcc-75f0-4ec6-8896-161a18bf1ff5" providerId="ADAL" clId="{AAD5E035-7C47-4E88-AB2C-CB7B44456A98}" dt="2026-02-10T14:59:23.085" v="5583" actId="571"/>
          <ac:spMkLst>
            <pc:docMk/>
            <pc:sldMk cId="529363595" sldId="467"/>
            <ac:spMk id="10" creationId="{15DD3DA6-7C32-397E-B740-9C8BA15921A8}"/>
          </ac:spMkLst>
        </pc:spChg>
        <pc:spChg chg="add mod">
          <ac:chgData name="Olivotto Marco (EGP&amp;TGX HGT)" userId="f3e8abcc-75f0-4ec6-8896-161a18bf1ff5" providerId="ADAL" clId="{AAD5E035-7C47-4E88-AB2C-CB7B44456A98}" dt="2026-02-10T15:03:04.555" v="5601" actId="207"/>
          <ac:spMkLst>
            <pc:docMk/>
            <pc:sldMk cId="529363595" sldId="467"/>
            <ac:spMk id="13" creationId="{D0A26204-A181-4CBB-ABCD-040DFF2BBA42}"/>
          </ac:spMkLst>
        </pc:spChg>
        <pc:spChg chg="add del mod">
          <ac:chgData name="Olivotto Marco (EGP&amp;TGX HGT)" userId="f3e8abcc-75f0-4ec6-8896-161a18bf1ff5" providerId="ADAL" clId="{AAD5E035-7C47-4E88-AB2C-CB7B44456A98}" dt="2026-02-10T15:04:50.947" v="5607" actId="478"/>
          <ac:spMkLst>
            <pc:docMk/>
            <pc:sldMk cId="529363595" sldId="467"/>
            <ac:spMk id="14" creationId="{D3BDE017-8CD3-D8AD-0D2D-CB6C08B2D4E5}"/>
          </ac:spMkLst>
        </pc:spChg>
        <pc:spChg chg="del mod">
          <ac:chgData name="Olivotto Marco (EGP&amp;TGX HGT)" userId="f3e8abcc-75f0-4ec6-8896-161a18bf1ff5" providerId="ADAL" clId="{AAD5E035-7C47-4E88-AB2C-CB7B44456A98}" dt="2026-02-10T15:09:38.274" v="5664" actId="478"/>
          <ac:spMkLst>
            <pc:docMk/>
            <pc:sldMk cId="529363595" sldId="467"/>
            <ac:spMk id="16" creationId="{2A8E61F5-50BF-619D-C9AE-E19DF8771351}"/>
          </ac:spMkLst>
        </pc:spChg>
        <pc:spChg chg="del mod">
          <ac:chgData name="Olivotto Marco (EGP&amp;TGX HGT)" userId="f3e8abcc-75f0-4ec6-8896-161a18bf1ff5" providerId="ADAL" clId="{AAD5E035-7C47-4E88-AB2C-CB7B44456A98}" dt="2026-02-10T15:09:36.509" v="5663" actId="478"/>
          <ac:spMkLst>
            <pc:docMk/>
            <pc:sldMk cId="529363595" sldId="467"/>
            <ac:spMk id="17" creationId="{62580669-592A-91C2-28B5-37DE446E66B6}"/>
          </ac:spMkLst>
        </pc:spChg>
        <pc:spChg chg="add del mod">
          <ac:chgData name="Olivotto Marco (EGP&amp;TGX HGT)" userId="f3e8abcc-75f0-4ec6-8896-161a18bf1ff5" providerId="ADAL" clId="{AAD5E035-7C47-4E88-AB2C-CB7B44456A98}" dt="2026-02-10T15:09:40.159" v="5665" actId="478"/>
          <ac:spMkLst>
            <pc:docMk/>
            <pc:sldMk cId="529363595" sldId="467"/>
            <ac:spMk id="18" creationId="{CA7594CD-C670-75BE-6194-FDCE07DEFE0A}"/>
          </ac:spMkLst>
        </pc:spChg>
        <pc:spChg chg="del mod">
          <ac:chgData name="Olivotto Marco (EGP&amp;TGX HGT)" userId="f3e8abcc-75f0-4ec6-8896-161a18bf1ff5" providerId="ADAL" clId="{AAD5E035-7C47-4E88-AB2C-CB7B44456A98}" dt="2026-02-10T15:09:50.722" v="5667" actId="478"/>
          <ac:spMkLst>
            <pc:docMk/>
            <pc:sldMk cId="529363595" sldId="467"/>
            <ac:spMk id="19" creationId="{B7B84D28-9BB2-EDF9-15F2-99E4D967797E}"/>
          </ac:spMkLst>
        </pc:spChg>
        <pc:spChg chg="add mod ord">
          <ac:chgData name="Olivotto Marco (EGP&amp;TGX HGT)" userId="f3e8abcc-75f0-4ec6-8896-161a18bf1ff5" providerId="ADAL" clId="{AAD5E035-7C47-4E88-AB2C-CB7B44456A98}" dt="2026-02-11T07:10:16.822" v="7700" actId="1076"/>
          <ac:spMkLst>
            <pc:docMk/>
            <pc:sldMk cId="529363595" sldId="467"/>
            <ac:spMk id="22" creationId="{B1728DE2-ADF0-7FDC-DEC2-994CB21D5470}"/>
          </ac:spMkLst>
        </pc:spChg>
        <pc:spChg chg="add mod">
          <ac:chgData name="Olivotto Marco (EGP&amp;TGX HGT)" userId="f3e8abcc-75f0-4ec6-8896-161a18bf1ff5" providerId="ADAL" clId="{AAD5E035-7C47-4E88-AB2C-CB7B44456A98}" dt="2026-02-11T08:33:13.237" v="12217" actId="1076"/>
          <ac:spMkLst>
            <pc:docMk/>
            <pc:sldMk cId="529363595" sldId="467"/>
            <ac:spMk id="23" creationId="{25491D63-BABD-4D6F-3B47-351CE148D56A}"/>
          </ac:spMkLst>
        </pc:spChg>
        <pc:spChg chg="add mod">
          <ac:chgData name="Olivotto Marco (EGP&amp;TGX HGT)" userId="f3e8abcc-75f0-4ec6-8896-161a18bf1ff5" providerId="ADAL" clId="{AAD5E035-7C47-4E88-AB2C-CB7B44456A98}" dt="2026-02-11T07:07:28.553" v="7577" actId="1076"/>
          <ac:spMkLst>
            <pc:docMk/>
            <pc:sldMk cId="529363595" sldId="467"/>
            <ac:spMk id="24" creationId="{841482B2-3A14-2B15-38A4-A95AD1CF3091}"/>
          </ac:spMkLst>
        </pc:spChg>
        <pc:spChg chg="add mod">
          <ac:chgData name="Olivotto Marco (EGP&amp;TGX HGT)" userId="f3e8abcc-75f0-4ec6-8896-161a18bf1ff5" providerId="ADAL" clId="{AAD5E035-7C47-4E88-AB2C-CB7B44456A98}" dt="2026-02-11T07:09:05.026" v="7696" actId="20577"/>
          <ac:spMkLst>
            <pc:docMk/>
            <pc:sldMk cId="529363595" sldId="467"/>
            <ac:spMk id="25" creationId="{131EB770-8ADE-B56F-5486-BA67FB6ABB7F}"/>
          </ac:spMkLst>
        </pc:spChg>
        <pc:spChg chg="add mod">
          <ac:chgData name="Olivotto Marco (EGP&amp;TGX HGT)" userId="f3e8abcc-75f0-4ec6-8896-161a18bf1ff5" providerId="ADAL" clId="{AAD5E035-7C47-4E88-AB2C-CB7B44456A98}" dt="2026-02-11T08:33:06.391" v="12216" actId="1076"/>
          <ac:spMkLst>
            <pc:docMk/>
            <pc:sldMk cId="529363595" sldId="467"/>
            <ac:spMk id="26" creationId="{E66087FF-B330-630F-9DBD-27022224CC70}"/>
          </ac:spMkLst>
        </pc:spChg>
        <pc:picChg chg="add del mod">
          <ac:chgData name="Olivotto Marco (EGP&amp;TGX HGT)" userId="f3e8abcc-75f0-4ec6-8896-161a18bf1ff5" providerId="ADAL" clId="{AAD5E035-7C47-4E88-AB2C-CB7B44456A98}" dt="2026-02-10T14:59:03.813" v="5580" actId="478"/>
          <ac:picMkLst>
            <pc:docMk/>
            <pc:sldMk cId="529363595" sldId="467"/>
            <ac:picMk id="3" creationId="{64E81E33-EBD9-9898-01BE-FA3007420250}"/>
          </ac:picMkLst>
        </pc:picChg>
        <pc:picChg chg="del">
          <ac:chgData name="Olivotto Marco (EGP&amp;TGX HGT)" userId="f3e8abcc-75f0-4ec6-8896-161a18bf1ff5" providerId="ADAL" clId="{AAD5E035-7C47-4E88-AB2C-CB7B44456A98}" dt="2026-02-10T14:53:55.917" v="5446" actId="478"/>
          <ac:picMkLst>
            <pc:docMk/>
            <pc:sldMk cId="529363595" sldId="467"/>
            <ac:picMk id="4" creationId="{5BA8E41F-4326-03A1-BEE0-41FB71954A22}"/>
          </ac:picMkLst>
        </pc:picChg>
        <pc:picChg chg="add mod">
          <ac:chgData name="Olivotto Marco (EGP&amp;TGX HGT)" userId="f3e8abcc-75f0-4ec6-8896-161a18bf1ff5" providerId="ADAL" clId="{AAD5E035-7C47-4E88-AB2C-CB7B44456A98}" dt="2026-02-10T15:07:50.095" v="5639" actId="1076"/>
          <ac:picMkLst>
            <pc:docMk/>
            <pc:sldMk cId="529363595" sldId="467"/>
            <ac:picMk id="12" creationId="{579108B4-0063-9715-0E41-927959F8B717}"/>
          </ac:picMkLst>
        </pc:picChg>
        <pc:picChg chg="add del">
          <ac:chgData name="Olivotto Marco (EGP&amp;TGX HGT)" userId="f3e8abcc-75f0-4ec6-8896-161a18bf1ff5" providerId="ADAL" clId="{AAD5E035-7C47-4E88-AB2C-CB7B44456A98}" dt="2026-02-10T15:07:41.295" v="5637" actId="478"/>
          <ac:picMkLst>
            <pc:docMk/>
            <pc:sldMk cId="529363595" sldId="467"/>
            <ac:picMk id="20" creationId="{A155399A-A1E4-9A52-CC24-46C64E854328}"/>
          </ac:picMkLst>
        </pc:picChg>
      </pc:sldChg>
      <pc:sldChg chg="addSp delSp modSp add mod">
        <pc:chgData name="Olivotto Marco (EGP&amp;TGX HGT)" userId="f3e8abcc-75f0-4ec6-8896-161a18bf1ff5" providerId="ADAL" clId="{AAD5E035-7C47-4E88-AB2C-CB7B44456A98}" dt="2026-02-11T07:39:46.367" v="8187" actId="14100"/>
        <pc:sldMkLst>
          <pc:docMk/>
          <pc:sldMk cId="2439564181" sldId="468"/>
        </pc:sldMkLst>
        <pc:spChg chg="add del mod">
          <ac:chgData name="Olivotto Marco (EGP&amp;TGX HGT)" userId="f3e8abcc-75f0-4ec6-8896-161a18bf1ff5" providerId="ADAL" clId="{AAD5E035-7C47-4E88-AB2C-CB7B44456A98}" dt="2026-02-11T07:23:37.733" v="7725" actId="478"/>
          <ac:spMkLst>
            <pc:docMk/>
            <pc:sldMk cId="2439564181" sldId="468"/>
            <ac:spMk id="2" creationId="{1476AE1D-2F67-05CA-BFD7-3A726E991D98}"/>
          </ac:spMkLst>
        </pc:spChg>
        <pc:spChg chg="del">
          <ac:chgData name="Olivotto Marco (EGP&amp;TGX HGT)" userId="f3e8abcc-75f0-4ec6-8896-161a18bf1ff5" providerId="ADAL" clId="{AAD5E035-7C47-4E88-AB2C-CB7B44456A98}" dt="2026-02-11T07:23:40.653" v="7726" actId="478"/>
          <ac:spMkLst>
            <pc:docMk/>
            <pc:sldMk cId="2439564181" sldId="468"/>
            <ac:spMk id="6" creationId="{A3B25F29-4214-34AF-E5DB-E535D51C40B5}"/>
          </ac:spMkLst>
        </pc:spChg>
        <pc:spChg chg="mod">
          <ac:chgData name="Olivotto Marco (EGP&amp;TGX HGT)" userId="f3e8abcc-75f0-4ec6-8896-161a18bf1ff5" providerId="ADAL" clId="{AAD5E035-7C47-4E88-AB2C-CB7B44456A98}" dt="2026-02-11T07:22:40.627" v="7722" actId="20577"/>
          <ac:spMkLst>
            <pc:docMk/>
            <pc:sldMk cId="2439564181" sldId="468"/>
            <ac:spMk id="8" creationId="{80F3B2FF-F42C-53D3-0A88-0B318A2E02ED}"/>
          </ac:spMkLst>
        </pc:spChg>
        <pc:spChg chg="add mod">
          <ac:chgData name="Olivotto Marco (EGP&amp;TGX HGT)" userId="f3e8abcc-75f0-4ec6-8896-161a18bf1ff5" providerId="ADAL" clId="{AAD5E035-7C47-4E88-AB2C-CB7B44456A98}" dt="2026-02-11T07:26:19.933" v="7743" actId="207"/>
          <ac:spMkLst>
            <pc:docMk/>
            <pc:sldMk cId="2439564181" sldId="468"/>
            <ac:spMk id="10" creationId="{1823BBEF-2846-6678-85BC-32362F86AC2E}"/>
          </ac:spMkLst>
        </pc:spChg>
        <pc:spChg chg="add del">
          <ac:chgData name="Olivotto Marco (EGP&amp;TGX HGT)" userId="f3e8abcc-75f0-4ec6-8896-161a18bf1ff5" providerId="ADAL" clId="{AAD5E035-7C47-4E88-AB2C-CB7B44456A98}" dt="2026-02-11T07:27:14.536" v="7745" actId="478"/>
          <ac:spMkLst>
            <pc:docMk/>
            <pc:sldMk cId="2439564181" sldId="468"/>
            <ac:spMk id="11" creationId="{0AD74AF8-938F-5CCA-4F1F-5165D54A9D7A}"/>
          </ac:spMkLst>
        </pc:spChg>
        <pc:spChg chg="del">
          <ac:chgData name="Olivotto Marco (EGP&amp;TGX HGT)" userId="f3e8abcc-75f0-4ec6-8896-161a18bf1ff5" providerId="ADAL" clId="{AAD5E035-7C47-4E88-AB2C-CB7B44456A98}" dt="2026-02-11T07:23:35.672" v="7724" actId="478"/>
          <ac:spMkLst>
            <pc:docMk/>
            <pc:sldMk cId="2439564181" sldId="468"/>
            <ac:spMk id="13" creationId="{95655CB5-E288-DBF9-17FB-7AC05F0A3AD3}"/>
          </ac:spMkLst>
        </pc:spChg>
        <pc:spChg chg="add mod">
          <ac:chgData name="Olivotto Marco (EGP&amp;TGX HGT)" userId="f3e8abcc-75f0-4ec6-8896-161a18bf1ff5" providerId="ADAL" clId="{AAD5E035-7C47-4E88-AB2C-CB7B44456A98}" dt="2026-02-11T07:28:18.974" v="7749" actId="207"/>
          <ac:spMkLst>
            <pc:docMk/>
            <pc:sldMk cId="2439564181" sldId="468"/>
            <ac:spMk id="14" creationId="{1C2A434A-6C65-037F-A4B5-793E30B74685}"/>
          </ac:spMkLst>
        </pc:spChg>
        <pc:spChg chg="add mod">
          <ac:chgData name="Olivotto Marco (EGP&amp;TGX HGT)" userId="f3e8abcc-75f0-4ec6-8896-161a18bf1ff5" providerId="ADAL" clId="{AAD5E035-7C47-4E88-AB2C-CB7B44456A98}" dt="2026-02-11T07:28:46.887" v="7753" actId="207"/>
          <ac:spMkLst>
            <pc:docMk/>
            <pc:sldMk cId="2439564181" sldId="468"/>
            <ac:spMk id="15" creationId="{0B2C97E6-8C3A-8ADB-6C6D-2691BC6E62C9}"/>
          </ac:spMkLst>
        </pc:spChg>
        <pc:spChg chg="del">
          <ac:chgData name="Olivotto Marco (EGP&amp;TGX HGT)" userId="f3e8abcc-75f0-4ec6-8896-161a18bf1ff5" providerId="ADAL" clId="{AAD5E035-7C47-4E88-AB2C-CB7B44456A98}" dt="2026-02-11T07:05:14.312" v="7563" actId="478"/>
          <ac:spMkLst>
            <pc:docMk/>
            <pc:sldMk cId="2439564181" sldId="468"/>
            <ac:spMk id="16" creationId="{1CDA701C-6E41-5611-D229-9F586E263E4E}"/>
          </ac:spMkLst>
        </pc:spChg>
        <pc:spChg chg="del mod">
          <ac:chgData name="Olivotto Marco (EGP&amp;TGX HGT)" userId="f3e8abcc-75f0-4ec6-8896-161a18bf1ff5" providerId="ADAL" clId="{AAD5E035-7C47-4E88-AB2C-CB7B44456A98}" dt="2026-02-11T07:05:11.487" v="7562" actId="478"/>
          <ac:spMkLst>
            <pc:docMk/>
            <pc:sldMk cId="2439564181" sldId="468"/>
            <ac:spMk id="17" creationId="{5B961B42-6C6B-8D27-4CC3-31113E5060B3}"/>
          </ac:spMkLst>
        </pc:spChg>
        <pc:spChg chg="del">
          <ac:chgData name="Olivotto Marco (EGP&amp;TGX HGT)" userId="f3e8abcc-75f0-4ec6-8896-161a18bf1ff5" providerId="ADAL" clId="{AAD5E035-7C47-4E88-AB2C-CB7B44456A98}" dt="2026-02-11T07:05:17.871" v="7564" actId="478"/>
          <ac:spMkLst>
            <pc:docMk/>
            <pc:sldMk cId="2439564181" sldId="468"/>
            <ac:spMk id="18" creationId="{B8658297-1612-AF98-1138-21B1DB2B5196}"/>
          </ac:spMkLst>
        </pc:spChg>
        <pc:spChg chg="del">
          <ac:chgData name="Olivotto Marco (EGP&amp;TGX HGT)" userId="f3e8abcc-75f0-4ec6-8896-161a18bf1ff5" providerId="ADAL" clId="{AAD5E035-7C47-4E88-AB2C-CB7B44456A98}" dt="2026-02-11T07:05:06.433" v="7561" actId="478"/>
          <ac:spMkLst>
            <pc:docMk/>
            <pc:sldMk cId="2439564181" sldId="468"/>
            <ac:spMk id="19" creationId="{07248855-96B9-9CC0-44A8-08F3ADEB529C}"/>
          </ac:spMkLst>
        </pc:spChg>
        <pc:spChg chg="add mod">
          <ac:chgData name="Olivotto Marco (EGP&amp;TGX HGT)" userId="f3e8abcc-75f0-4ec6-8896-161a18bf1ff5" providerId="ADAL" clId="{AAD5E035-7C47-4E88-AB2C-CB7B44456A98}" dt="2026-02-11T07:37:59.946" v="8179" actId="20577"/>
          <ac:spMkLst>
            <pc:docMk/>
            <pc:sldMk cId="2439564181" sldId="468"/>
            <ac:spMk id="20" creationId="{4E4511A1-18FD-3207-4156-11122E6AD10C}"/>
          </ac:spMkLst>
        </pc:spChg>
        <pc:spChg chg="del">
          <ac:chgData name="Olivotto Marco (EGP&amp;TGX HGT)" userId="f3e8abcc-75f0-4ec6-8896-161a18bf1ff5" providerId="ADAL" clId="{AAD5E035-7C47-4E88-AB2C-CB7B44456A98}" dt="2026-02-11T07:05:03.802" v="7560" actId="478"/>
          <ac:spMkLst>
            <pc:docMk/>
            <pc:sldMk cId="2439564181" sldId="468"/>
            <ac:spMk id="22" creationId="{8CA2DE29-2B2C-9B73-C37B-34C36B952E20}"/>
          </ac:spMkLst>
        </pc:spChg>
        <pc:spChg chg="add mod">
          <ac:chgData name="Olivotto Marco (EGP&amp;TGX HGT)" userId="f3e8abcc-75f0-4ec6-8896-161a18bf1ff5" providerId="ADAL" clId="{AAD5E035-7C47-4E88-AB2C-CB7B44456A98}" dt="2026-02-11T07:38:03.242" v="8180" actId="1076"/>
          <ac:spMkLst>
            <pc:docMk/>
            <pc:sldMk cId="2439564181" sldId="468"/>
            <ac:spMk id="23" creationId="{47DBB595-4411-8DDE-58E3-469886939862}"/>
          </ac:spMkLst>
        </pc:spChg>
        <pc:spChg chg="add mod">
          <ac:chgData name="Olivotto Marco (EGP&amp;TGX HGT)" userId="f3e8abcc-75f0-4ec6-8896-161a18bf1ff5" providerId="ADAL" clId="{AAD5E035-7C47-4E88-AB2C-CB7B44456A98}" dt="2026-02-11T07:39:34.737" v="8185" actId="20577"/>
          <ac:spMkLst>
            <pc:docMk/>
            <pc:sldMk cId="2439564181" sldId="468"/>
            <ac:spMk id="24" creationId="{25B4E1FB-2DA9-5D7A-CFE8-AD9C3F162057}"/>
          </ac:spMkLst>
        </pc:spChg>
        <pc:spChg chg="add mod">
          <ac:chgData name="Olivotto Marco (EGP&amp;TGX HGT)" userId="f3e8abcc-75f0-4ec6-8896-161a18bf1ff5" providerId="ADAL" clId="{AAD5E035-7C47-4E88-AB2C-CB7B44456A98}" dt="2026-02-11T07:36:30.850" v="8076" actId="20577"/>
          <ac:spMkLst>
            <pc:docMk/>
            <pc:sldMk cId="2439564181" sldId="468"/>
            <ac:spMk id="25" creationId="{A5F0A75F-5E6D-0552-E68D-55F1F89892F0}"/>
          </ac:spMkLst>
        </pc:spChg>
        <pc:spChg chg="add mod">
          <ac:chgData name="Olivotto Marco (EGP&amp;TGX HGT)" userId="f3e8abcc-75f0-4ec6-8896-161a18bf1ff5" providerId="ADAL" clId="{AAD5E035-7C47-4E88-AB2C-CB7B44456A98}" dt="2026-02-11T07:37:25.453" v="8160" actId="5793"/>
          <ac:spMkLst>
            <pc:docMk/>
            <pc:sldMk cId="2439564181" sldId="468"/>
            <ac:spMk id="26" creationId="{E8BBF6DF-F651-399A-49EB-2865AF56FD8B}"/>
          </ac:spMkLst>
        </pc:spChg>
        <pc:spChg chg="add mod">
          <ac:chgData name="Olivotto Marco (EGP&amp;TGX HGT)" userId="f3e8abcc-75f0-4ec6-8896-161a18bf1ff5" providerId="ADAL" clId="{AAD5E035-7C47-4E88-AB2C-CB7B44456A98}" dt="2026-02-11T07:39:46.367" v="8187" actId="14100"/>
          <ac:spMkLst>
            <pc:docMk/>
            <pc:sldMk cId="2439564181" sldId="468"/>
            <ac:spMk id="27" creationId="{28006D74-C4E7-C86F-5BAF-157BF7E50696}"/>
          </ac:spMkLst>
        </pc:spChg>
        <pc:picChg chg="add mod">
          <ac:chgData name="Olivotto Marco (EGP&amp;TGX HGT)" userId="f3e8abcc-75f0-4ec6-8896-161a18bf1ff5" providerId="ADAL" clId="{AAD5E035-7C47-4E88-AB2C-CB7B44456A98}" dt="2026-02-11T07:32:55.008" v="7849" actId="108"/>
          <ac:picMkLst>
            <pc:docMk/>
            <pc:sldMk cId="2439564181" sldId="468"/>
            <ac:picMk id="4" creationId="{F0CE2D65-F644-224C-CAB5-F7E38E92496B}"/>
          </ac:picMkLst>
        </pc:picChg>
        <pc:picChg chg="add mod">
          <ac:chgData name="Olivotto Marco (EGP&amp;TGX HGT)" userId="f3e8abcc-75f0-4ec6-8896-161a18bf1ff5" providerId="ADAL" clId="{AAD5E035-7C47-4E88-AB2C-CB7B44456A98}" dt="2026-02-11T07:32:57.217" v="7850" actId="108"/>
          <ac:picMkLst>
            <pc:docMk/>
            <pc:sldMk cId="2439564181" sldId="468"/>
            <ac:picMk id="9" creationId="{C5B038FD-9AC8-4546-33ED-EE4E13594C32}"/>
          </ac:picMkLst>
        </pc:picChg>
        <pc:picChg chg="del">
          <ac:chgData name="Olivotto Marco (EGP&amp;TGX HGT)" userId="f3e8abcc-75f0-4ec6-8896-161a18bf1ff5" providerId="ADAL" clId="{AAD5E035-7C47-4E88-AB2C-CB7B44456A98}" dt="2026-02-11T07:23:34.081" v="7723" actId="478"/>
          <ac:picMkLst>
            <pc:docMk/>
            <pc:sldMk cId="2439564181" sldId="468"/>
            <ac:picMk id="12" creationId="{68333EB3-17B1-A080-AFA7-3006C1CA1D3F}"/>
          </ac:picMkLst>
        </pc:picChg>
      </pc:sldChg>
      <pc:sldChg chg="addSp delSp modSp add mod">
        <pc:chgData name="Olivotto Marco (EGP&amp;TGX HGT)" userId="f3e8abcc-75f0-4ec6-8896-161a18bf1ff5" providerId="ADAL" clId="{AAD5E035-7C47-4E88-AB2C-CB7B44456A98}" dt="2026-02-11T09:12:00.859" v="12232" actId="20577"/>
        <pc:sldMkLst>
          <pc:docMk/>
          <pc:sldMk cId="1013650373" sldId="469"/>
        </pc:sldMkLst>
        <pc:spChg chg="add mod">
          <ac:chgData name="Olivotto Marco (EGP&amp;TGX HGT)" userId="f3e8abcc-75f0-4ec6-8896-161a18bf1ff5" providerId="ADAL" clId="{AAD5E035-7C47-4E88-AB2C-CB7B44456A98}" dt="2026-02-11T09:12:00.859" v="12232" actId="20577"/>
          <ac:spMkLst>
            <pc:docMk/>
            <pc:sldMk cId="1013650373" sldId="469"/>
            <ac:spMk id="2" creationId="{3EEE594B-CCF8-9F52-EF7A-6911760929FB}"/>
          </ac:spMkLst>
        </pc:spChg>
        <pc:spChg chg="add del">
          <ac:chgData name="Olivotto Marco (EGP&amp;TGX HGT)" userId="f3e8abcc-75f0-4ec6-8896-161a18bf1ff5" providerId="ADAL" clId="{AAD5E035-7C47-4E88-AB2C-CB7B44456A98}" dt="2026-02-11T08:11:19.248" v="10201" actId="22"/>
          <ac:spMkLst>
            <pc:docMk/>
            <pc:sldMk cId="1013650373" sldId="469"/>
            <ac:spMk id="5" creationId="{8E53563E-D647-F7A5-368B-45277C3B3F00}"/>
          </ac:spMkLst>
        </pc:spChg>
        <pc:spChg chg="add mod">
          <ac:chgData name="Olivotto Marco (EGP&amp;TGX HGT)" userId="f3e8abcc-75f0-4ec6-8896-161a18bf1ff5" providerId="ADAL" clId="{AAD5E035-7C47-4E88-AB2C-CB7B44456A98}" dt="2026-02-11T08:32:23.765" v="12215" actId="20577"/>
          <ac:spMkLst>
            <pc:docMk/>
            <pc:sldMk cId="1013650373" sldId="469"/>
            <ac:spMk id="6" creationId="{8345BFC4-D107-DFBF-1287-E3F518A3867F}"/>
          </ac:spMkLst>
        </pc:spChg>
        <pc:spChg chg="mod">
          <ac:chgData name="Olivotto Marco (EGP&amp;TGX HGT)" userId="f3e8abcc-75f0-4ec6-8896-161a18bf1ff5" providerId="ADAL" clId="{AAD5E035-7C47-4E88-AB2C-CB7B44456A98}" dt="2026-02-11T07:29:47.631" v="7756" actId="20577"/>
          <ac:spMkLst>
            <pc:docMk/>
            <pc:sldMk cId="1013650373" sldId="469"/>
            <ac:spMk id="8" creationId="{C7ECD311-107A-75F9-8AAF-8C0D9543F969}"/>
          </ac:spMkLst>
        </pc:spChg>
        <pc:spChg chg="del">
          <ac:chgData name="Olivotto Marco (EGP&amp;TGX HGT)" userId="f3e8abcc-75f0-4ec6-8896-161a18bf1ff5" providerId="ADAL" clId="{AAD5E035-7C47-4E88-AB2C-CB7B44456A98}" dt="2026-02-11T07:40:01.163" v="8189" actId="478"/>
          <ac:spMkLst>
            <pc:docMk/>
            <pc:sldMk cId="1013650373" sldId="469"/>
            <ac:spMk id="10" creationId="{12A8EC22-173F-7785-FA38-8DF15641B9B1}"/>
          </ac:spMkLst>
        </pc:spChg>
        <pc:spChg chg="del">
          <ac:chgData name="Olivotto Marco (EGP&amp;TGX HGT)" userId="f3e8abcc-75f0-4ec6-8896-161a18bf1ff5" providerId="ADAL" clId="{AAD5E035-7C47-4E88-AB2C-CB7B44456A98}" dt="2026-02-11T07:40:08.450" v="8192" actId="478"/>
          <ac:spMkLst>
            <pc:docMk/>
            <pc:sldMk cId="1013650373" sldId="469"/>
            <ac:spMk id="14" creationId="{B2BAF25F-904D-EC93-6B2C-DB82D3CBC249}"/>
          </ac:spMkLst>
        </pc:spChg>
        <pc:spChg chg="del">
          <ac:chgData name="Olivotto Marco (EGP&amp;TGX HGT)" userId="f3e8abcc-75f0-4ec6-8896-161a18bf1ff5" providerId="ADAL" clId="{AAD5E035-7C47-4E88-AB2C-CB7B44456A98}" dt="2026-02-11T07:40:06.163" v="8191" actId="478"/>
          <ac:spMkLst>
            <pc:docMk/>
            <pc:sldMk cId="1013650373" sldId="469"/>
            <ac:spMk id="15" creationId="{47318A63-DE68-FBB3-A02F-D50A0E6E0134}"/>
          </ac:spMkLst>
        </pc:spChg>
        <pc:picChg chg="del">
          <ac:chgData name="Olivotto Marco (EGP&amp;TGX HGT)" userId="f3e8abcc-75f0-4ec6-8896-161a18bf1ff5" providerId="ADAL" clId="{AAD5E035-7C47-4E88-AB2C-CB7B44456A98}" dt="2026-02-11T07:39:58.893" v="8188" actId="478"/>
          <ac:picMkLst>
            <pc:docMk/>
            <pc:sldMk cId="1013650373" sldId="469"/>
            <ac:picMk id="4" creationId="{38208946-FCDB-76E7-908C-D94090AF73B5}"/>
          </ac:picMkLst>
        </pc:picChg>
        <pc:picChg chg="del">
          <ac:chgData name="Olivotto Marco (EGP&amp;TGX HGT)" userId="f3e8abcc-75f0-4ec6-8896-161a18bf1ff5" providerId="ADAL" clId="{AAD5E035-7C47-4E88-AB2C-CB7B44456A98}" dt="2026-02-11T07:40:03.515" v="8190" actId="478"/>
          <ac:picMkLst>
            <pc:docMk/>
            <pc:sldMk cId="1013650373" sldId="469"/>
            <ac:picMk id="9" creationId="{C37CC277-39A7-4148-2D32-2C250415D4C7}"/>
          </ac:picMkLst>
        </pc:picChg>
      </pc:sldChg>
      <pc:sldChg chg="addSp modSp add del mod">
        <pc:chgData name="Olivotto Marco (EGP&amp;TGX HGT)" userId="f3e8abcc-75f0-4ec6-8896-161a18bf1ff5" providerId="ADAL" clId="{AAD5E035-7C47-4E88-AB2C-CB7B44456A98}" dt="2026-02-11T08:33:22.165" v="12218" actId="2696"/>
        <pc:sldMkLst>
          <pc:docMk/>
          <pc:sldMk cId="863583249" sldId="470"/>
        </pc:sldMkLst>
        <pc:spChg chg="mod">
          <ac:chgData name="Olivotto Marco (EGP&amp;TGX HGT)" userId="f3e8abcc-75f0-4ec6-8896-161a18bf1ff5" providerId="ADAL" clId="{AAD5E035-7C47-4E88-AB2C-CB7B44456A98}" dt="2026-02-11T08:05:28.391" v="10145" actId="20577"/>
          <ac:spMkLst>
            <pc:docMk/>
            <pc:sldMk cId="863583249" sldId="470"/>
            <ac:spMk id="2" creationId="{5254D79D-ADC1-C9C2-C066-61FAA11B959E}"/>
          </ac:spMkLst>
        </pc:spChg>
        <pc:spChg chg="add mod">
          <ac:chgData name="Olivotto Marco (EGP&amp;TGX HGT)" userId="f3e8abcc-75f0-4ec6-8896-161a18bf1ff5" providerId="ADAL" clId="{AAD5E035-7C47-4E88-AB2C-CB7B44456A98}" dt="2026-02-11T08:07:35.896" v="10196" actId="20577"/>
          <ac:spMkLst>
            <pc:docMk/>
            <pc:sldMk cId="863583249" sldId="470"/>
            <ac:spMk id="3" creationId="{F5FCF524-10E5-DD94-DC8E-C47241675E02}"/>
          </ac:spMkLst>
        </pc:spChg>
      </pc:sldChg>
      <pc:sldChg chg="add del">
        <pc:chgData name="Olivotto Marco (EGP&amp;TGX HGT)" userId="f3e8abcc-75f0-4ec6-8896-161a18bf1ff5" providerId="ADAL" clId="{AAD5E035-7C47-4E88-AB2C-CB7B44456A98}" dt="2026-02-11T08:05:20.437" v="10144"/>
        <pc:sldMkLst>
          <pc:docMk/>
          <pc:sldMk cId="1875221700" sldId="471"/>
        </pc:sldMkLst>
      </pc:sldChg>
      <pc:sldMasterChg chg="delSldLayout">
        <pc:chgData name="Olivotto Marco (EGP&amp;TGX HGT)" userId="f3e8abcc-75f0-4ec6-8896-161a18bf1ff5" providerId="ADAL" clId="{AAD5E035-7C47-4E88-AB2C-CB7B44456A98}" dt="2026-02-05T12:34:28.190" v="472" actId="47"/>
        <pc:sldMasterMkLst>
          <pc:docMk/>
          <pc:sldMasterMk cId="150098858" sldId="2147483690"/>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2C3CE4-A73F-4AB1-B7BE-784AE2ACB8C3}" type="doc">
      <dgm:prSet loTypeId="urn:microsoft.com/office/officeart/2005/8/layout/orgChart1" loCatId="hierarchy" qsTypeId="urn:microsoft.com/office/officeart/2005/8/quickstyle/simple3" qsCatId="simple" csTypeId="urn:microsoft.com/office/officeart/2005/8/colors/accent5_2" csCatId="accent5" phldr="1"/>
      <dgm:spPr/>
      <dgm:t>
        <a:bodyPr/>
        <a:lstStyle/>
        <a:p>
          <a:endParaRPr lang="it-IT"/>
        </a:p>
      </dgm:t>
    </dgm:pt>
    <dgm:pt modelId="{14A3E19A-2595-44D9-AFF5-7971E5AC19F7}">
      <dgm:prSet phldrT="[Testo]" custT="1"/>
      <dgm:spPr/>
      <dgm:t>
        <a:bodyPr/>
        <a:lstStyle/>
        <a:p>
          <a:r>
            <a:rPr lang="it-IT" sz="1800" b="1">
              <a:latin typeface="Arial Narrow" pitchFamily="34" charset="0"/>
            </a:rPr>
            <a:t>Area Nord Ovest</a:t>
          </a:r>
        </a:p>
        <a:p>
          <a:r>
            <a:rPr lang="it-IT" sz="1400" b="1">
              <a:latin typeface="Arial Narrow" pitchFamily="34" charset="0"/>
            </a:rPr>
            <a:t>Andrea Poggi</a:t>
          </a:r>
          <a:endParaRPr lang="it-IT" sz="1400" b="1" dirty="0">
            <a:latin typeface="Arial Narrow" pitchFamily="34" charset="0"/>
          </a:endParaRPr>
        </a:p>
      </dgm:t>
    </dgm:pt>
    <dgm:pt modelId="{AF8402D0-19C4-4199-BE7A-119387A7E890}" type="parTrans" cxnId="{ED0BD232-D65F-4628-9619-6A04FC6A4D3D}">
      <dgm:prSet/>
      <dgm:spPr/>
      <dgm:t>
        <a:bodyPr/>
        <a:lstStyle/>
        <a:p>
          <a:endParaRPr lang="it-IT" sz="1400" b="1">
            <a:solidFill>
              <a:schemeClr val="tx2"/>
            </a:solidFill>
            <a:latin typeface="Arial Narrow" pitchFamily="34" charset="0"/>
          </a:endParaRPr>
        </a:p>
      </dgm:t>
    </dgm:pt>
    <dgm:pt modelId="{5F58B059-A37E-4618-AEFF-364FB93C78C4}" type="sibTrans" cxnId="{ED0BD232-D65F-4628-9619-6A04FC6A4D3D}">
      <dgm:prSet/>
      <dgm:spPr/>
      <dgm:t>
        <a:bodyPr/>
        <a:lstStyle/>
        <a:p>
          <a:endParaRPr lang="it-IT" sz="1400" b="1">
            <a:solidFill>
              <a:schemeClr val="tx2"/>
            </a:solidFill>
            <a:latin typeface="Arial Narrow" pitchFamily="34" charset="0"/>
          </a:endParaRPr>
        </a:p>
      </dgm:t>
    </dgm:pt>
    <dgm:pt modelId="{FD97DB05-0DFF-4C18-91C3-40117AD0028A}" type="asst">
      <dgm:prSet phldrT="[Testo]" custT="1"/>
      <dgm:spPr/>
      <dgm:t>
        <a:bodyPr/>
        <a:lstStyle/>
        <a:p>
          <a:r>
            <a:rPr lang="it-IT" sz="1600" b="1">
              <a:latin typeface="Arial Narrow" pitchFamily="34" charset="0"/>
            </a:rPr>
            <a:t>Water Management</a:t>
          </a:r>
        </a:p>
        <a:p>
          <a:r>
            <a:rPr lang="it-IT" sz="1400" b="1">
              <a:latin typeface="Arial Narrow" pitchFamily="34" charset="0"/>
            </a:rPr>
            <a:t>Andrea Bertino</a:t>
          </a:r>
          <a:endParaRPr lang="it-IT" sz="1400" b="1" dirty="0">
            <a:latin typeface="Arial Narrow" pitchFamily="34" charset="0"/>
          </a:endParaRPr>
        </a:p>
      </dgm:t>
    </dgm:pt>
    <dgm:pt modelId="{8AF8C17F-7A96-443E-B948-2BE4BBA06B99}" type="parTrans" cxnId="{3CD6A8A5-4941-4951-9E24-5F79D492D50C}">
      <dgm:prSet/>
      <dgm:spPr/>
      <dgm:t>
        <a:bodyPr/>
        <a:lstStyle/>
        <a:p>
          <a:endParaRPr lang="it-IT" sz="1400" b="1">
            <a:solidFill>
              <a:schemeClr val="tx2"/>
            </a:solidFill>
            <a:latin typeface="Arial Narrow" pitchFamily="34" charset="0"/>
          </a:endParaRPr>
        </a:p>
      </dgm:t>
    </dgm:pt>
    <dgm:pt modelId="{F730BFAE-8BE6-4C6D-8137-FD6051CB60F7}" type="sibTrans" cxnId="{3CD6A8A5-4941-4951-9E24-5F79D492D50C}">
      <dgm:prSet/>
      <dgm:spPr/>
      <dgm:t>
        <a:bodyPr/>
        <a:lstStyle/>
        <a:p>
          <a:endParaRPr lang="it-IT" sz="1400" b="1">
            <a:solidFill>
              <a:schemeClr val="tx2"/>
            </a:solidFill>
            <a:latin typeface="Arial Narrow" pitchFamily="34" charset="0"/>
          </a:endParaRPr>
        </a:p>
      </dgm:t>
    </dgm:pt>
    <dgm:pt modelId="{86332DE0-F14E-4A2D-8F8C-54F9E566E07C}">
      <dgm:prSet phldrT="[Testo]" custT="1"/>
      <dgm:spPr/>
      <dgm:t>
        <a:bodyPr/>
        <a:lstStyle/>
        <a:p>
          <a:r>
            <a:rPr lang="it-IT" sz="1800" b="1">
              <a:latin typeface="Arial Narrow" pitchFamily="34" charset="0"/>
            </a:rPr>
            <a:t>UT Cuneo </a:t>
          </a:r>
          <a:br>
            <a:rPr lang="it-IT" sz="1400" b="1" baseline="-25000">
              <a:latin typeface="Arial Narrow" pitchFamily="34" charset="0"/>
            </a:rPr>
          </a:br>
          <a:r>
            <a:rPr lang="it-IT" sz="1400" b="1" baseline="0">
              <a:latin typeface="Arial Narrow" pitchFamily="34" charset="0"/>
            </a:rPr>
            <a:t>Marco Delsanto</a:t>
          </a:r>
          <a:br>
            <a:rPr lang="it-IT" sz="1400" b="1" baseline="0">
              <a:latin typeface="Arial Narrow" pitchFamily="34" charset="0"/>
            </a:rPr>
          </a:br>
          <a:br>
            <a:rPr lang="it-IT" sz="1400" b="1" baseline="0">
              <a:latin typeface="Arial Narrow" pitchFamily="34" charset="0"/>
            </a:rPr>
          </a:br>
          <a:r>
            <a:rPr lang="it-IT" sz="1400" b="1" baseline="0">
              <a:latin typeface="Arial Narrow" pitchFamily="34" charset="0"/>
            </a:rPr>
            <a:t>Ou Entracque</a:t>
          </a:r>
          <a:br>
            <a:rPr lang="it-IT" sz="1400" b="1" baseline="0">
              <a:latin typeface="Arial Narrow" pitchFamily="34" charset="0"/>
            </a:rPr>
          </a:br>
          <a:r>
            <a:rPr lang="it-IT" sz="1400" b="1" baseline="0">
              <a:latin typeface="Arial Narrow" pitchFamily="34" charset="0"/>
            </a:rPr>
            <a:t>Ou S. Damiano</a:t>
          </a:r>
          <a:br>
            <a:rPr lang="it-IT" sz="1400" b="1" baseline="0">
              <a:latin typeface="Arial Narrow" pitchFamily="34" charset="0"/>
            </a:rPr>
          </a:br>
          <a:r>
            <a:rPr lang="it-IT" sz="1400" b="1" baseline="0">
              <a:latin typeface="Arial Narrow" pitchFamily="34" charset="0"/>
            </a:rPr>
            <a:t>Ou Demonte</a:t>
          </a:r>
          <a:endParaRPr lang="it-IT" sz="1400" b="1" baseline="0" dirty="0">
            <a:latin typeface="Arial Narrow" pitchFamily="34" charset="0"/>
          </a:endParaRPr>
        </a:p>
      </dgm:t>
    </dgm:pt>
    <dgm:pt modelId="{C1CB71F0-FD67-4F28-A14B-46AF86CCBD84}" type="parTrans" cxnId="{B4E7A9B0-E439-4727-B94C-B27EBE44670A}">
      <dgm:prSet/>
      <dgm:spPr/>
      <dgm:t>
        <a:bodyPr/>
        <a:lstStyle/>
        <a:p>
          <a:endParaRPr lang="it-IT" sz="1400" b="1">
            <a:solidFill>
              <a:schemeClr val="tx2"/>
            </a:solidFill>
            <a:latin typeface="Arial Narrow" pitchFamily="34" charset="0"/>
          </a:endParaRPr>
        </a:p>
      </dgm:t>
    </dgm:pt>
    <dgm:pt modelId="{D1B8EDCC-8B38-41A6-A698-1CBF2DBD752E}" type="sibTrans" cxnId="{B4E7A9B0-E439-4727-B94C-B27EBE44670A}">
      <dgm:prSet/>
      <dgm:spPr/>
      <dgm:t>
        <a:bodyPr/>
        <a:lstStyle/>
        <a:p>
          <a:endParaRPr lang="it-IT" sz="1400" b="1">
            <a:solidFill>
              <a:schemeClr val="tx2"/>
            </a:solidFill>
            <a:latin typeface="Arial Narrow" pitchFamily="34" charset="0"/>
          </a:endParaRPr>
        </a:p>
      </dgm:t>
    </dgm:pt>
    <dgm:pt modelId="{51AA66F8-12A4-4881-8B13-7FFD0D2F349C}">
      <dgm:prSet phldrT="[Testo]" custT="1"/>
      <dgm:spPr/>
      <dgm:t>
        <a:bodyPr/>
        <a:lstStyle/>
        <a:p>
          <a:r>
            <a:rPr lang="it-IT" sz="1800" b="1" dirty="0">
              <a:latin typeface="Arial Narrow" pitchFamily="34" charset="0"/>
            </a:rPr>
            <a:t>UT Torino</a:t>
          </a:r>
          <a:br>
            <a:rPr lang="it-IT" sz="1400" b="1" baseline="-25000" dirty="0">
              <a:latin typeface="Arial Narrow" pitchFamily="34" charset="0"/>
            </a:rPr>
          </a:br>
          <a:r>
            <a:rPr lang="it-IT" sz="1400" b="1" baseline="0" dirty="0">
              <a:latin typeface="Arial Narrow" pitchFamily="34" charset="0"/>
            </a:rPr>
            <a:t>Gaetano Vallese</a:t>
          </a:r>
          <a:br>
            <a:rPr lang="it-IT" sz="1400" b="1" baseline="0" dirty="0">
              <a:latin typeface="Arial Narrow" pitchFamily="34" charset="0"/>
            </a:rPr>
          </a:br>
          <a:br>
            <a:rPr lang="it-IT" sz="1400" b="1" baseline="0" dirty="0">
              <a:latin typeface="Arial Narrow" pitchFamily="34" charset="0"/>
            </a:rPr>
          </a:br>
          <a:r>
            <a:rPr lang="it-IT" sz="1400" b="1" baseline="0" dirty="0" err="1">
              <a:latin typeface="Arial Narrow" pitchFamily="34" charset="0"/>
            </a:rPr>
            <a:t>Ou</a:t>
          </a:r>
          <a:r>
            <a:rPr lang="it-IT" sz="1400" b="1" baseline="0" dirty="0">
              <a:latin typeface="Arial Narrow" pitchFamily="34" charset="0"/>
            </a:rPr>
            <a:t> Venaus</a:t>
          </a:r>
          <a:br>
            <a:rPr lang="it-IT" sz="1400" b="1" baseline="0" dirty="0">
              <a:latin typeface="Arial Narrow" pitchFamily="34" charset="0"/>
            </a:rPr>
          </a:br>
          <a:r>
            <a:rPr lang="it-IT" sz="1400" b="1" baseline="0" dirty="0" err="1">
              <a:latin typeface="Arial Narrow" pitchFamily="34" charset="0"/>
            </a:rPr>
            <a:t>Ou</a:t>
          </a:r>
          <a:r>
            <a:rPr lang="it-IT" sz="1400" b="1" baseline="0" dirty="0">
              <a:latin typeface="Arial Narrow" pitchFamily="34" charset="0"/>
            </a:rPr>
            <a:t> </a:t>
          </a:r>
          <a:r>
            <a:rPr lang="it-IT" sz="1400" b="1" baseline="0" dirty="0" err="1">
              <a:latin typeface="Arial Narrow" pitchFamily="34" charset="0"/>
            </a:rPr>
            <a:t>Funghera</a:t>
          </a:r>
          <a:br>
            <a:rPr lang="it-IT" sz="1400" b="1" baseline="0" dirty="0">
              <a:latin typeface="Arial Narrow" pitchFamily="34" charset="0"/>
            </a:rPr>
          </a:br>
          <a:endParaRPr lang="it-IT" sz="1400" b="1" baseline="0" dirty="0">
            <a:latin typeface="Arial Narrow" pitchFamily="34" charset="0"/>
          </a:endParaRPr>
        </a:p>
      </dgm:t>
    </dgm:pt>
    <dgm:pt modelId="{11CC3B70-3451-413D-854D-2BCB78588B9B}" type="parTrans" cxnId="{302BAD91-7A22-4ECC-873D-B598F28ADE94}">
      <dgm:prSet/>
      <dgm:spPr/>
      <dgm:t>
        <a:bodyPr/>
        <a:lstStyle/>
        <a:p>
          <a:endParaRPr lang="it-IT" sz="1400" b="1">
            <a:solidFill>
              <a:schemeClr val="tx2"/>
            </a:solidFill>
            <a:latin typeface="Arial Narrow" pitchFamily="34" charset="0"/>
          </a:endParaRPr>
        </a:p>
      </dgm:t>
    </dgm:pt>
    <dgm:pt modelId="{D71B96D1-8FC5-475D-A37B-DA82F8D5CA22}" type="sibTrans" cxnId="{302BAD91-7A22-4ECC-873D-B598F28ADE94}">
      <dgm:prSet/>
      <dgm:spPr/>
      <dgm:t>
        <a:bodyPr/>
        <a:lstStyle/>
        <a:p>
          <a:endParaRPr lang="it-IT" sz="1400" b="1">
            <a:solidFill>
              <a:schemeClr val="tx2"/>
            </a:solidFill>
            <a:latin typeface="Arial Narrow" pitchFamily="34" charset="0"/>
          </a:endParaRPr>
        </a:p>
      </dgm:t>
    </dgm:pt>
    <dgm:pt modelId="{2E5EAA58-3D99-4A84-B898-D928BC19FC19}">
      <dgm:prSet phldrT="[Testo]" custT="1"/>
      <dgm:spPr>
        <a:solidFill>
          <a:srgbClr val="FFFF00"/>
        </a:solidFill>
      </dgm:spPr>
      <dgm:t>
        <a:bodyPr/>
        <a:lstStyle/>
        <a:p>
          <a:r>
            <a:rPr lang="it-IT" sz="1800" b="1" dirty="0">
              <a:latin typeface="Arial Narrow" pitchFamily="34" charset="0"/>
            </a:rPr>
            <a:t>UT Domodossola</a:t>
          </a:r>
        </a:p>
        <a:p>
          <a:r>
            <a:rPr lang="it-IT" sz="1400" b="1" baseline="0" dirty="0">
              <a:latin typeface="Arial Narrow" pitchFamily="34" charset="0"/>
            </a:rPr>
            <a:t>Stefano Basano</a:t>
          </a:r>
          <a:br>
            <a:rPr lang="it-IT" sz="1400" b="1" baseline="0" dirty="0">
              <a:latin typeface="Arial Narrow" pitchFamily="34" charset="0"/>
            </a:rPr>
          </a:br>
          <a:br>
            <a:rPr lang="it-IT" sz="1400" b="1" baseline="0" dirty="0">
              <a:latin typeface="Arial Narrow" pitchFamily="34" charset="0"/>
            </a:rPr>
          </a:br>
          <a:r>
            <a:rPr lang="it-IT" sz="1400" b="1" baseline="0" dirty="0" err="1">
              <a:latin typeface="Arial Narrow" pitchFamily="34" charset="0"/>
            </a:rPr>
            <a:t>Ou</a:t>
          </a:r>
          <a:r>
            <a:rPr lang="it-IT" sz="1400" b="1" baseline="0" dirty="0">
              <a:latin typeface="Arial Narrow" pitchFamily="34" charset="0"/>
            </a:rPr>
            <a:t> Ponte</a:t>
          </a:r>
          <a:br>
            <a:rPr lang="it-IT" sz="1400" b="1" baseline="0" dirty="0">
              <a:latin typeface="Arial Narrow" pitchFamily="34" charset="0"/>
            </a:rPr>
          </a:br>
          <a:r>
            <a:rPr lang="it-IT" sz="1400" b="1" baseline="0" dirty="0" err="1">
              <a:latin typeface="Arial Narrow" pitchFamily="34" charset="0"/>
            </a:rPr>
            <a:t>Ou</a:t>
          </a:r>
          <a:r>
            <a:rPr lang="it-IT" sz="1400" b="1" baseline="0" dirty="0">
              <a:latin typeface="Arial Narrow" pitchFamily="34" charset="0"/>
            </a:rPr>
            <a:t> Verampio</a:t>
          </a:r>
          <a:br>
            <a:rPr lang="it-IT" sz="1400" b="1" baseline="0" dirty="0">
              <a:latin typeface="Arial Narrow" pitchFamily="34" charset="0"/>
            </a:rPr>
          </a:br>
          <a:r>
            <a:rPr lang="it-IT" sz="1400" b="1" baseline="0" dirty="0" err="1">
              <a:latin typeface="Arial Narrow" pitchFamily="34" charset="0"/>
            </a:rPr>
            <a:t>Ou</a:t>
          </a:r>
          <a:r>
            <a:rPr lang="it-IT" sz="1400" b="1" baseline="0" dirty="0">
              <a:latin typeface="Arial Narrow" pitchFamily="34" charset="0"/>
            </a:rPr>
            <a:t> Pallanzeno</a:t>
          </a:r>
          <a:br>
            <a:rPr lang="it-IT" sz="1400" b="1" baseline="0" dirty="0">
              <a:latin typeface="Arial Narrow" pitchFamily="34" charset="0"/>
            </a:rPr>
          </a:br>
          <a:r>
            <a:rPr lang="it-IT" sz="1400" b="1" baseline="0" dirty="0" err="1">
              <a:latin typeface="Arial Narrow" pitchFamily="34" charset="0"/>
            </a:rPr>
            <a:t>Ou</a:t>
          </a:r>
          <a:r>
            <a:rPr lang="it-IT" sz="1400" b="1" baseline="0" dirty="0">
              <a:latin typeface="Arial Narrow" pitchFamily="34" charset="0"/>
            </a:rPr>
            <a:t> Crevola</a:t>
          </a:r>
        </a:p>
      </dgm:t>
    </dgm:pt>
    <dgm:pt modelId="{F1F2BCE9-2027-4D3B-9930-86D31A56A437}" type="parTrans" cxnId="{14CABBF6-9FFD-40F3-8570-463C1D637D91}">
      <dgm:prSet/>
      <dgm:spPr/>
      <dgm:t>
        <a:bodyPr/>
        <a:lstStyle/>
        <a:p>
          <a:endParaRPr lang="it-IT" sz="1400" b="1">
            <a:solidFill>
              <a:schemeClr val="tx2"/>
            </a:solidFill>
            <a:latin typeface="Arial Narrow" pitchFamily="34" charset="0"/>
          </a:endParaRPr>
        </a:p>
      </dgm:t>
    </dgm:pt>
    <dgm:pt modelId="{F1511B23-B190-4B44-87D9-28A033EE409C}" type="sibTrans" cxnId="{14CABBF6-9FFD-40F3-8570-463C1D637D91}">
      <dgm:prSet/>
      <dgm:spPr/>
      <dgm:t>
        <a:bodyPr/>
        <a:lstStyle/>
        <a:p>
          <a:endParaRPr lang="it-IT" sz="1400" b="1">
            <a:solidFill>
              <a:schemeClr val="tx2"/>
            </a:solidFill>
            <a:latin typeface="Arial Narrow" pitchFamily="34" charset="0"/>
          </a:endParaRPr>
        </a:p>
      </dgm:t>
    </dgm:pt>
    <dgm:pt modelId="{299B70CE-7874-4EE8-982E-509355CFB6BE}" type="asst">
      <dgm:prSet phldrT="[Testo]" custT="1"/>
      <dgm:spPr/>
      <dgm:t>
        <a:bodyPr/>
        <a:lstStyle/>
        <a:p>
          <a:pPr>
            <a:lnSpc>
              <a:spcPct val="100000"/>
            </a:lnSpc>
            <a:spcBef>
              <a:spcPts val="600"/>
            </a:spcBef>
          </a:pPr>
          <a:r>
            <a:rPr lang="it-IT" sz="1600" b="1">
              <a:latin typeface="Arial Narrow" pitchFamily="34" charset="0"/>
            </a:rPr>
            <a:t>HSEQ</a:t>
          </a:r>
          <a:br>
            <a:rPr lang="it-IT" sz="1400" b="1">
              <a:latin typeface="Arial Narrow" pitchFamily="34" charset="0"/>
            </a:rPr>
          </a:br>
          <a:r>
            <a:rPr lang="it-IT" sz="1400" b="1">
              <a:latin typeface="Arial Narrow" pitchFamily="34" charset="0"/>
            </a:rPr>
            <a:t>Guido Pennella</a:t>
          </a:r>
          <a:endParaRPr lang="it-IT" sz="1400" b="1" dirty="0">
            <a:latin typeface="Arial Narrow" pitchFamily="34" charset="0"/>
          </a:endParaRPr>
        </a:p>
      </dgm:t>
    </dgm:pt>
    <dgm:pt modelId="{D710F1C2-4B5E-42E6-9C5A-4D7A15B1FA8A}" type="parTrans" cxnId="{4055FF0B-6563-4C85-B49B-2420CA1FD9E1}">
      <dgm:prSet/>
      <dgm:spPr/>
      <dgm:t>
        <a:bodyPr/>
        <a:lstStyle/>
        <a:p>
          <a:endParaRPr lang="it-IT"/>
        </a:p>
      </dgm:t>
    </dgm:pt>
    <dgm:pt modelId="{B4A20312-4980-451B-832B-7F982A4E0F11}" type="sibTrans" cxnId="{4055FF0B-6563-4C85-B49B-2420CA1FD9E1}">
      <dgm:prSet/>
      <dgm:spPr/>
      <dgm:t>
        <a:bodyPr/>
        <a:lstStyle/>
        <a:p>
          <a:endParaRPr lang="it-IT"/>
        </a:p>
      </dgm:t>
    </dgm:pt>
    <dgm:pt modelId="{1F00FE1F-D231-4403-B780-74128DDA679D}" type="asst">
      <dgm:prSet phldrT="[Testo]" custT="1"/>
      <dgm:spPr>
        <a:solidFill>
          <a:srgbClr val="FFFF00"/>
        </a:solidFill>
      </dgm:spPr>
      <dgm:t>
        <a:bodyPr/>
        <a:lstStyle/>
        <a:p>
          <a:pPr>
            <a:lnSpc>
              <a:spcPct val="100000"/>
            </a:lnSpc>
            <a:spcBef>
              <a:spcPts val="600"/>
            </a:spcBef>
          </a:pPr>
          <a:r>
            <a:rPr lang="it-IT" sz="1600" b="1" dirty="0" err="1">
              <a:latin typeface="Arial Narrow" pitchFamily="34" charset="0"/>
            </a:rPr>
            <a:t>Maintenance</a:t>
          </a:r>
          <a:br>
            <a:rPr lang="it-IT" sz="1400" b="1" dirty="0">
              <a:latin typeface="Arial Narrow" pitchFamily="34" charset="0"/>
            </a:rPr>
          </a:br>
          <a:r>
            <a:rPr lang="it-IT" sz="1400" b="1" dirty="0">
              <a:latin typeface="Arial Narrow" pitchFamily="34" charset="0"/>
            </a:rPr>
            <a:t>Gaetano Vallese</a:t>
          </a:r>
        </a:p>
      </dgm:t>
    </dgm:pt>
    <dgm:pt modelId="{7CF3BC33-8F0B-4858-BE23-63952289DF49}" type="parTrans" cxnId="{574F8537-5211-43C0-8A39-124D9CD832E0}">
      <dgm:prSet/>
      <dgm:spPr/>
      <dgm:t>
        <a:bodyPr/>
        <a:lstStyle/>
        <a:p>
          <a:endParaRPr lang="it-IT"/>
        </a:p>
      </dgm:t>
    </dgm:pt>
    <dgm:pt modelId="{DFD06D0A-2F6C-4BA3-8340-54C18B0D99E9}" type="sibTrans" cxnId="{574F8537-5211-43C0-8A39-124D9CD832E0}">
      <dgm:prSet/>
      <dgm:spPr/>
      <dgm:t>
        <a:bodyPr/>
        <a:lstStyle/>
        <a:p>
          <a:endParaRPr lang="it-IT"/>
        </a:p>
      </dgm:t>
    </dgm:pt>
    <dgm:pt modelId="{DD6AAA36-6B00-4248-AE28-DC792737C4D9}" type="pres">
      <dgm:prSet presAssocID="{062C3CE4-A73F-4AB1-B7BE-784AE2ACB8C3}" presName="hierChild1" presStyleCnt="0">
        <dgm:presLayoutVars>
          <dgm:orgChart val="1"/>
          <dgm:chPref val="1"/>
          <dgm:dir/>
          <dgm:animOne val="branch"/>
          <dgm:animLvl val="lvl"/>
          <dgm:resizeHandles/>
        </dgm:presLayoutVars>
      </dgm:prSet>
      <dgm:spPr/>
    </dgm:pt>
    <dgm:pt modelId="{7ACECD24-3F16-4BF8-BCC0-9380295706B7}" type="pres">
      <dgm:prSet presAssocID="{14A3E19A-2595-44D9-AFF5-7971E5AC19F7}" presName="hierRoot1" presStyleCnt="0">
        <dgm:presLayoutVars>
          <dgm:hierBranch val="init"/>
        </dgm:presLayoutVars>
      </dgm:prSet>
      <dgm:spPr/>
    </dgm:pt>
    <dgm:pt modelId="{98807DB0-2B35-4AB3-80F8-BFAB3F74E637}" type="pres">
      <dgm:prSet presAssocID="{14A3E19A-2595-44D9-AFF5-7971E5AC19F7}" presName="rootComposite1" presStyleCnt="0"/>
      <dgm:spPr/>
    </dgm:pt>
    <dgm:pt modelId="{123CAB2F-8BCF-469F-A49B-25B189F4D2B2}" type="pres">
      <dgm:prSet presAssocID="{14A3E19A-2595-44D9-AFF5-7971E5AC19F7}" presName="rootText1" presStyleLbl="node0" presStyleIdx="0" presStyleCnt="1">
        <dgm:presLayoutVars>
          <dgm:chPref val="3"/>
        </dgm:presLayoutVars>
      </dgm:prSet>
      <dgm:spPr>
        <a:prstGeom prst="roundRect">
          <a:avLst/>
        </a:prstGeom>
      </dgm:spPr>
    </dgm:pt>
    <dgm:pt modelId="{E1A3E9DA-31FB-4232-9A18-AD72FC10E6FB}" type="pres">
      <dgm:prSet presAssocID="{14A3E19A-2595-44D9-AFF5-7971E5AC19F7}" presName="rootConnector1" presStyleLbl="node1" presStyleIdx="0" presStyleCnt="0"/>
      <dgm:spPr/>
    </dgm:pt>
    <dgm:pt modelId="{45BF8878-1F87-4FAB-ADA0-861509A09393}" type="pres">
      <dgm:prSet presAssocID="{14A3E19A-2595-44D9-AFF5-7971E5AC19F7}" presName="hierChild2" presStyleCnt="0"/>
      <dgm:spPr/>
    </dgm:pt>
    <dgm:pt modelId="{254F65FE-C79B-468C-BC5D-276871C7034A}" type="pres">
      <dgm:prSet presAssocID="{C1CB71F0-FD67-4F28-A14B-46AF86CCBD84}" presName="Name37" presStyleLbl="parChTrans1D2" presStyleIdx="0" presStyleCnt="6"/>
      <dgm:spPr/>
    </dgm:pt>
    <dgm:pt modelId="{040CC438-D5B8-4F0E-9DD8-5B96E6C23B84}" type="pres">
      <dgm:prSet presAssocID="{86332DE0-F14E-4A2D-8F8C-54F9E566E07C}" presName="hierRoot2" presStyleCnt="0">
        <dgm:presLayoutVars>
          <dgm:hierBranch val="init"/>
        </dgm:presLayoutVars>
      </dgm:prSet>
      <dgm:spPr/>
    </dgm:pt>
    <dgm:pt modelId="{27F065E2-2D7E-41F7-B99B-AD9DED507CE3}" type="pres">
      <dgm:prSet presAssocID="{86332DE0-F14E-4A2D-8F8C-54F9E566E07C}" presName="rootComposite" presStyleCnt="0"/>
      <dgm:spPr/>
    </dgm:pt>
    <dgm:pt modelId="{02FF8342-2DF6-40E0-BC8D-D65784D53755}" type="pres">
      <dgm:prSet presAssocID="{86332DE0-F14E-4A2D-8F8C-54F9E566E07C}" presName="rootText" presStyleLbl="node2" presStyleIdx="0" presStyleCnt="3" custScaleX="104729" custScaleY="189604">
        <dgm:presLayoutVars>
          <dgm:chPref val="3"/>
        </dgm:presLayoutVars>
      </dgm:prSet>
      <dgm:spPr>
        <a:prstGeom prst="roundRect">
          <a:avLst/>
        </a:prstGeom>
      </dgm:spPr>
    </dgm:pt>
    <dgm:pt modelId="{35F09F86-08E9-4CF4-B866-C73A9683E8CF}" type="pres">
      <dgm:prSet presAssocID="{86332DE0-F14E-4A2D-8F8C-54F9E566E07C}" presName="rootConnector" presStyleLbl="node2" presStyleIdx="0" presStyleCnt="3"/>
      <dgm:spPr/>
    </dgm:pt>
    <dgm:pt modelId="{B974B204-B1C9-4F68-913C-FD2BD0E39304}" type="pres">
      <dgm:prSet presAssocID="{86332DE0-F14E-4A2D-8F8C-54F9E566E07C}" presName="hierChild4" presStyleCnt="0"/>
      <dgm:spPr/>
    </dgm:pt>
    <dgm:pt modelId="{9EDC0949-EEE5-4AB8-AB3D-8E9D51BAC9F0}" type="pres">
      <dgm:prSet presAssocID="{86332DE0-F14E-4A2D-8F8C-54F9E566E07C}" presName="hierChild5" presStyleCnt="0"/>
      <dgm:spPr/>
    </dgm:pt>
    <dgm:pt modelId="{67A22ED7-E031-44A1-A9D6-4022C69DF9A3}" type="pres">
      <dgm:prSet presAssocID="{11CC3B70-3451-413D-854D-2BCB78588B9B}" presName="Name37" presStyleLbl="parChTrans1D2" presStyleIdx="1" presStyleCnt="6"/>
      <dgm:spPr/>
    </dgm:pt>
    <dgm:pt modelId="{040E2744-9C25-4B13-9460-7F1206F5DC4F}" type="pres">
      <dgm:prSet presAssocID="{51AA66F8-12A4-4881-8B13-7FFD0D2F349C}" presName="hierRoot2" presStyleCnt="0">
        <dgm:presLayoutVars>
          <dgm:hierBranch val="init"/>
        </dgm:presLayoutVars>
      </dgm:prSet>
      <dgm:spPr/>
    </dgm:pt>
    <dgm:pt modelId="{72E12544-AA39-486D-8B2B-25862AE4DF15}" type="pres">
      <dgm:prSet presAssocID="{51AA66F8-12A4-4881-8B13-7FFD0D2F349C}" presName="rootComposite" presStyleCnt="0"/>
      <dgm:spPr/>
    </dgm:pt>
    <dgm:pt modelId="{BF8D931A-991B-41E9-89C9-2E7C0BE9141A}" type="pres">
      <dgm:prSet presAssocID="{51AA66F8-12A4-4881-8B13-7FFD0D2F349C}" presName="rootText" presStyleLbl="node2" presStyleIdx="1" presStyleCnt="3" custScaleX="104729" custScaleY="190068">
        <dgm:presLayoutVars>
          <dgm:chPref val="3"/>
        </dgm:presLayoutVars>
      </dgm:prSet>
      <dgm:spPr>
        <a:prstGeom prst="roundRect">
          <a:avLst/>
        </a:prstGeom>
      </dgm:spPr>
    </dgm:pt>
    <dgm:pt modelId="{600EA4F5-4489-4607-818F-ECE2353503C4}" type="pres">
      <dgm:prSet presAssocID="{51AA66F8-12A4-4881-8B13-7FFD0D2F349C}" presName="rootConnector" presStyleLbl="node2" presStyleIdx="1" presStyleCnt="3"/>
      <dgm:spPr/>
    </dgm:pt>
    <dgm:pt modelId="{AD9CB998-CD0B-4612-857C-B81904EA2066}" type="pres">
      <dgm:prSet presAssocID="{51AA66F8-12A4-4881-8B13-7FFD0D2F349C}" presName="hierChild4" presStyleCnt="0"/>
      <dgm:spPr/>
    </dgm:pt>
    <dgm:pt modelId="{460D4A13-55AC-4D13-B5EB-6FCCCAB1F070}" type="pres">
      <dgm:prSet presAssocID="{51AA66F8-12A4-4881-8B13-7FFD0D2F349C}" presName="hierChild5" presStyleCnt="0"/>
      <dgm:spPr/>
    </dgm:pt>
    <dgm:pt modelId="{B32A6351-78A8-4D45-8A30-4D0526E5124D}" type="pres">
      <dgm:prSet presAssocID="{F1F2BCE9-2027-4D3B-9930-86D31A56A437}" presName="Name37" presStyleLbl="parChTrans1D2" presStyleIdx="2" presStyleCnt="6"/>
      <dgm:spPr/>
    </dgm:pt>
    <dgm:pt modelId="{6492FDC5-7242-45A3-A01C-513C0C896B72}" type="pres">
      <dgm:prSet presAssocID="{2E5EAA58-3D99-4A84-B898-D928BC19FC19}" presName="hierRoot2" presStyleCnt="0">
        <dgm:presLayoutVars>
          <dgm:hierBranch val="init"/>
        </dgm:presLayoutVars>
      </dgm:prSet>
      <dgm:spPr/>
    </dgm:pt>
    <dgm:pt modelId="{761C2143-A5D2-4BFA-B6A7-F3E49E1D73EB}" type="pres">
      <dgm:prSet presAssocID="{2E5EAA58-3D99-4A84-B898-D928BC19FC19}" presName="rootComposite" presStyleCnt="0"/>
      <dgm:spPr/>
    </dgm:pt>
    <dgm:pt modelId="{BF6CBF8C-89BF-41FB-8F92-91E22DC9EEED}" type="pres">
      <dgm:prSet presAssocID="{2E5EAA58-3D99-4A84-B898-D928BC19FC19}" presName="rootText" presStyleLbl="node2" presStyleIdx="2" presStyleCnt="3" custScaleX="104729" custScaleY="188682">
        <dgm:presLayoutVars>
          <dgm:chPref val="3"/>
        </dgm:presLayoutVars>
      </dgm:prSet>
      <dgm:spPr>
        <a:prstGeom prst="roundRect">
          <a:avLst/>
        </a:prstGeom>
      </dgm:spPr>
    </dgm:pt>
    <dgm:pt modelId="{3EE7888C-BCAA-43C7-96AD-C60FF1EFE7AF}" type="pres">
      <dgm:prSet presAssocID="{2E5EAA58-3D99-4A84-B898-D928BC19FC19}" presName="rootConnector" presStyleLbl="node2" presStyleIdx="2" presStyleCnt="3"/>
      <dgm:spPr/>
    </dgm:pt>
    <dgm:pt modelId="{652356D9-728D-42D2-9ABC-3E30900C489C}" type="pres">
      <dgm:prSet presAssocID="{2E5EAA58-3D99-4A84-B898-D928BC19FC19}" presName="hierChild4" presStyleCnt="0"/>
      <dgm:spPr/>
    </dgm:pt>
    <dgm:pt modelId="{6C466A31-5CD3-4D72-891B-4250C2C8CF59}" type="pres">
      <dgm:prSet presAssocID="{2E5EAA58-3D99-4A84-B898-D928BC19FC19}" presName="hierChild5" presStyleCnt="0"/>
      <dgm:spPr/>
    </dgm:pt>
    <dgm:pt modelId="{388F32FF-3851-4B94-B9B5-B6E8E4BEAFC8}" type="pres">
      <dgm:prSet presAssocID="{14A3E19A-2595-44D9-AFF5-7971E5AC19F7}" presName="hierChild3" presStyleCnt="0"/>
      <dgm:spPr/>
    </dgm:pt>
    <dgm:pt modelId="{E08E8CCC-6ECD-47E1-9672-578C10FFB08C}" type="pres">
      <dgm:prSet presAssocID="{D710F1C2-4B5E-42E6-9C5A-4D7A15B1FA8A}" presName="Name111" presStyleLbl="parChTrans1D2" presStyleIdx="3" presStyleCnt="6"/>
      <dgm:spPr/>
    </dgm:pt>
    <dgm:pt modelId="{D414E82F-C566-43E7-A558-9F6FF412334C}" type="pres">
      <dgm:prSet presAssocID="{299B70CE-7874-4EE8-982E-509355CFB6BE}" presName="hierRoot3" presStyleCnt="0">
        <dgm:presLayoutVars>
          <dgm:hierBranch val="init"/>
        </dgm:presLayoutVars>
      </dgm:prSet>
      <dgm:spPr/>
    </dgm:pt>
    <dgm:pt modelId="{3435C3C9-66C4-419B-8AEC-110C2F9E1F0A}" type="pres">
      <dgm:prSet presAssocID="{299B70CE-7874-4EE8-982E-509355CFB6BE}" presName="rootComposite3" presStyleCnt="0"/>
      <dgm:spPr/>
    </dgm:pt>
    <dgm:pt modelId="{93EC354C-F182-407E-BDE9-8B3AF0870E02}" type="pres">
      <dgm:prSet presAssocID="{299B70CE-7874-4EE8-982E-509355CFB6BE}" presName="rootText3" presStyleLbl="asst1" presStyleIdx="0" presStyleCnt="3">
        <dgm:presLayoutVars>
          <dgm:chPref val="3"/>
        </dgm:presLayoutVars>
      </dgm:prSet>
      <dgm:spPr>
        <a:prstGeom prst="roundRect">
          <a:avLst/>
        </a:prstGeom>
      </dgm:spPr>
    </dgm:pt>
    <dgm:pt modelId="{43079B45-F9C6-4E2E-9EC4-89A8AB129D58}" type="pres">
      <dgm:prSet presAssocID="{299B70CE-7874-4EE8-982E-509355CFB6BE}" presName="rootConnector3" presStyleLbl="asst1" presStyleIdx="0" presStyleCnt="3"/>
      <dgm:spPr/>
    </dgm:pt>
    <dgm:pt modelId="{A781C735-1865-4906-AABE-9CE3206ECF1D}" type="pres">
      <dgm:prSet presAssocID="{299B70CE-7874-4EE8-982E-509355CFB6BE}" presName="hierChild6" presStyleCnt="0"/>
      <dgm:spPr/>
    </dgm:pt>
    <dgm:pt modelId="{DCB68E4D-43A4-4079-AC72-6DFF845B84BF}" type="pres">
      <dgm:prSet presAssocID="{299B70CE-7874-4EE8-982E-509355CFB6BE}" presName="hierChild7" presStyleCnt="0"/>
      <dgm:spPr/>
    </dgm:pt>
    <dgm:pt modelId="{0F906FF7-9B41-4197-AB51-5CD8B39AB4E4}" type="pres">
      <dgm:prSet presAssocID="{8AF8C17F-7A96-443E-B948-2BE4BBA06B99}" presName="Name111" presStyleLbl="parChTrans1D2" presStyleIdx="4" presStyleCnt="6"/>
      <dgm:spPr/>
    </dgm:pt>
    <dgm:pt modelId="{FB8C9C59-22A1-4259-B10B-F162CD9F707F}" type="pres">
      <dgm:prSet presAssocID="{FD97DB05-0DFF-4C18-91C3-40117AD0028A}" presName="hierRoot3" presStyleCnt="0">
        <dgm:presLayoutVars>
          <dgm:hierBranch val="init"/>
        </dgm:presLayoutVars>
      </dgm:prSet>
      <dgm:spPr/>
    </dgm:pt>
    <dgm:pt modelId="{7A18FEA0-F9C3-4CEB-8D8F-3FFFF60FD76A}" type="pres">
      <dgm:prSet presAssocID="{FD97DB05-0DFF-4C18-91C3-40117AD0028A}" presName="rootComposite3" presStyleCnt="0"/>
      <dgm:spPr/>
    </dgm:pt>
    <dgm:pt modelId="{C864E17F-99EE-4D94-9CF7-7F2B2A2DA8BE}" type="pres">
      <dgm:prSet presAssocID="{FD97DB05-0DFF-4C18-91C3-40117AD0028A}" presName="rootText3" presStyleLbl="asst1" presStyleIdx="1" presStyleCnt="3">
        <dgm:presLayoutVars>
          <dgm:chPref val="3"/>
        </dgm:presLayoutVars>
      </dgm:prSet>
      <dgm:spPr>
        <a:prstGeom prst="roundRect">
          <a:avLst/>
        </a:prstGeom>
      </dgm:spPr>
    </dgm:pt>
    <dgm:pt modelId="{0BD884A6-B455-463B-AA52-77B0B7D6709E}" type="pres">
      <dgm:prSet presAssocID="{FD97DB05-0DFF-4C18-91C3-40117AD0028A}" presName="rootConnector3" presStyleLbl="asst1" presStyleIdx="1" presStyleCnt="3"/>
      <dgm:spPr/>
    </dgm:pt>
    <dgm:pt modelId="{20AA3C14-5705-4B1A-BC66-217914A9D8C4}" type="pres">
      <dgm:prSet presAssocID="{FD97DB05-0DFF-4C18-91C3-40117AD0028A}" presName="hierChild6" presStyleCnt="0"/>
      <dgm:spPr/>
    </dgm:pt>
    <dgm:pt modelId="{AEA49542-0D1E-4ED2-B4D0-DA8D6012D62E}" type="pres">
      <dgm:prSet presAssocID="{FD97DB05-0DFF-4C18-91C3-40117AD0028A}" presName="hierChild7" presStyleCnt="0"/>
      <dgm:spPr/>
    </dgm:pt>
    <dgm:pt modelId="{226F0D68-ABEF-4EAC-A6E3-20BA86189EE0}" type="pres">
      <dgm:prSet presAssocID="{7CF3BC33-8F0B-4858-BE23-63952289DF49}" presName="Name111" presStyleLbl="parChTrans1D2" presStyleIdx="5" presStyleCnt="6"/>
      <dgm:spPr/>
    </dgm:pt>
    <dgm:pt modelId="{B83E1195-9E26-424C-9FA8-002D245BA729}" type="pres">
      <dgm:prSet presAssocID="{1F00FE1F-D231-4403-B780-74128DDA679D}" presName="hierRoot3" presStyleCnt="0">
        <dgm:presLayoutVars>
          <dgm:hierBranch val="init"/>
        </dgm:presLayoutVars>
      </dgm:prSet>
      <dgm:spPr/>
    </dgm:pt>
    <dgm:pt modelId="{0FDC3013-DC21-459E-9BB9-6ECF95ADA4C4}" type="pres">
      <dgm:prSet presAssocID="{1F00FE1F-D231-4403-B780-74128DDA679D}" presName="rootComposite3" presStyleCnt="0"/>
      <dgm:spPr/>
    </dgm:pt>
    <dgm:pt modelId="{67742410-C38F-4770-9A2C-8AB9EA79FEBD}" type="pres">
      <dgm:prSet presAssocID="{1F00FE1F-D231-4403-B780-74128DDA679D}" presName="rootText3" presStyleLbl="asst1" presStyleIdx="2" presStyleCnt="3">
        <dgm:presLayoutVars>
          <dgm:chPref val="3"/>
        </dgm:presLayoutVars>
      </dgm:prSet>
      <dgm:spPr>
        <a:prstGeom prst="roundRect">
          <a:avLst/>
        </a:prstGeom>
      </dgm:spPr>
    </dgm:pt>
    <dgm:pt modelId="{08A948ED-48F1-4BC9-A40D-6E8440309401}" type="pres">
      <dgm:prSet presAssocID="{1F00FE1F-D231-4403-B780-74128DDA679D}" presName="rootConnector3" presStyleLbl="asst1" presStyleIdx="2" presStyleCnt="3"/>
      <dgm:spPr/>
    </dgm:pt>
    <dgm:pt modelId="{DA3C4AC8-131F-4BD3-808C-D49B8477CAC0}" type="pres">
      <dgm:prSet presAssocID="{1F00FE1F-D231-4403-B780-74128DDA679D}" presName="hierChild6" presStyleCnt="0"/>
      <dgm:spPr/>
    </dgm:pt>
    <dgm:pt modelId="{4A627119-48D8-44F9-B7E2-338C7E41F0FF}" type="pres">
      <dgm:prSet presAssocID="{1F00FE1F-D231-4403-B780-74128DDA679D}" presName="hierChild7" presStyleCnt="0"/>
      <dgm:spPr/>
    </dgm:pt>
  </dgm:ptLst>
  <dgm:cxnLst>
    <dgm:cxn modelId="{4055FF0B-6563-4C85-B49B-2420CA1FD9E1}" srcId="{14A3E19A-2595-44D9-AFF5-7971E5AC19F7}" destId="{299B70CE-7874-4EE8-982E-509355CFB6BE}" srcOrd="0" destOrd="0" parTransId="{D710F1C2-4B5E-42E6-9C5A-4D7A15B1FA8A}" sibTransId="{B4A20312-4980-451B-832B-7F982A4E0F11}"/>
    <dgm:cxn modelId="{C2E5170E-461A-434B-8B03-8195C5DD86B8}" type="presOf" srcId="{2E5EAA58-3D99-4A84-B898-D928BC19FC19}" destId="{BF6CBF8C-89BF-41FB-8F92-91E22DC9EEED}" srcOrd="0" destOrd="0" presId="urn:microsoft.com/office/officeart/2005/8/layout/orgChart1"/>
    <dgm:cxn modelId="{E64EAA13-375D-40D8-8089-8AD9990F0CCB}" type="presOf" srcId="{11CC3B70-3451-413D-854D-2BCB78588B9B}" destId="{67A22ED7-E031-44A1-A9D6-4022C69DF9A3}" srcOrd="0" destOrd="0" presId="urn:microsoft.com/office/officeart/2005/8/layout/orgChart1"/>
    <dgm:cxn modelId="{43AEEF27-E74F-494B-B369-6B3EFCCA0162}" type="presOf" srcId="{2E5EAA58-3D99-4A84-B898-D928BC19FC19}" destId="{3EE7888C-BCAA-43C7-96AD-C60FF1EFE7AF}" srcOrd="1" destOrd="0" presId="urn:microsoft.com/office/officeart/2005/8/layout/orgChart1"/>
    <dgm:cxn modelId="{64E0F931-6316-43EF-BD76-FD6890AB3273}" type="presOf" srcId="{FD97DB05-0DFF-4C18-91C3-40117AD0028A}" destId="{C864E17F-99EE-4D94-9CF7-7F2B2A2DA8BE}" srcOrd="0" destOrd="0" presId="urn:microsoft.com/office/officeart/2005/8/layout/orgChart1"/>
    <dgm:cxn modelId="{ED0BD232-D65F-4628-9619-6A04FC6A4D3D}" srcId="{062C3CE4-A73F-4AB1-B7BE-784AE2ACB8C3}" destId="{14A3E19A-2595-44D9-AFF5-7971E5AC19F7}" srcOrd="0" destOrd="0" parTransId="{AF8402D0-19C4-4199-BE7A-119387A7E890}" sibTransId="{5F58B059-A37E-4618-AEFF-364FB93C78C4}"/>
    <dgm:cxn modelId="{574F8537-5211-43C0-8A39-124D9CD832E0}" srcId="{14A3E19A-2595-44D9-AFF5-7971E5AC19F7}" destId="{1F00FE1F-D231-4403-B780-74128DDA679D}" srcOrd="2" destOrd="0" parTransId="{7CF3BC33-8F0B-4858-BE23-63952289DF49}" sibTransId="{DFD06D0A-2F6C-4BA3-8340-54C18B0D99E9}"/>
    <dgm:cxn modelId="{86F76139-BEF6-42F4-937D-AC0D0BC25A71}" type="presOf" srcId="{C1CB71F0-FD67-4F28-A14B-46AF86CCBD84}" destId="{254F65FE-C79B-468C-BC5D-276871C7034A}" srcOrd="0" destOrd="0" presId="urn:microsoft.com/office/officeart/2005/8/layout/orgChart1"/>
    <dgm:cxn modelId="{040B763F-4B2B-4343-A1EA-CC576018B209}" type="presOf" srcId="{7CF3BC33-8F0B-4858-BE23-63952289DF49}" destId="{226F0D68-ABEF-4EAC-A6E3-20BA86189EE0}" srcOrd="0" destOrd="0" presId="urn:microsoft.com/office/officeart/2005/8/layout/orgChart1"/>
    <dgm:cxn modelId="{EB982668-11D3-4FF3-99F1-62637DA1055C}" type="presOf" srcId="{062C3CE4-A73F-4AB1-B7BE-784AE2ACB8C3}" destId="{DD6AAA36-6B00-4248-AE28-DC792737C4D9}" srcOrd="0" destOrd="0" presId="urn:microsoft.com/office/officeart/2005/8/layout/orgChart1"/>
    <dgm:cxn modelId="{80B5DB6E-DA79-4E6D-A92A-26FB1666C330}" type="presOf" srcId="{14A3E19A-2595-44D9-AFF5-7971E5AC19F7}" destId="{E1A3E9DA-31FB-4232-9A18-AD72FC10E6FB}" srcOrd="1" destOrd="0" presId="urn:microsoft.com/office/officeart/2005/8/layout/orgChart1"/>
    <dgm:cxn modelId="{F854FA56-7427-4CDB-8CF0-0B4AD2BAE560}" type="presOf" srcId="{86332DE0-F14E-4A2D-8F8C-54F9E566E07C}" destId="{02FF8342-2DF6-40E0-BC8D-D65784D53755}" srcOrd="0" destOrd="0" presId="urn:microsoft.com/office/officeart/2005/8/layout/orgChart1"/>
    <dgm:cxn modelId="{13BEAB57-87AA-4618-A69C-F672473D56FF}" type="presOf" srcId="{1F00FE1F-D231-4403-B780-74128DDA679D}" destId="{08A948ED-48F1-4BC9-A40D-6E8440309401}" srcOrd="1" destOrd="0" presId="urn:microsoft.com/office/officeart/2005/8/layout/orgChart1"/>
    <dgm:cxn modelId="{73A8E885-14EE-4CCF-A373-265A949DC779}" type="presOf" srcId="{86332DE0-F14E-4A2D-8F8C-54F9E566E07C}" destId="{35F09F86-08E9-4CF4-B866-C73A9683E8CF}" srcOrd="1" destOrd="0" presId="urn:microsoft.com/office/officeart/2005/8/layout/orgChart1"/>
    <dgm:cxn modelId="{302BAD91-7A22-4ECC-873D-B598F28ADE94}" srcId="{14A3E19A-2595-44D9-AFF5-7971E5AC19F7}" destId="{51AA66F8-12A4-4881-8B13-7FFD0D2F349C}" srcOrd="4" destOrd="0" parTransId="{11CC3B70-3451-413D-854D-2BCB78588B9B}" sibTransId="{D71B96D1-8FC5-475D-A37B-DA82F8D5CA22}"/>
    <dgm:cxn modelId="{01A82497-2074-4AC9-B81E-D39F3CEE285C}" type="presOf" srcId="{1F00FE1F-D231-4403-B780-74128DDA679D}" destId="{67742410-C38F-4770-9A2C-8AB9EA79FEBD}" srcOrd="0" destOrd="0" presId="urn:microsoft.com/office/officeart/2005/8/layout/orgChart1"/>
    <dgm:cxn modelId="{7D7B9E9E-A5F4-4EF3-B518-068F8D55474B}" type="presOf" srcId="{FD97DB05-0DFF-4C18-91C3-40117AD0028A}" destId="{0BD884A6-B455-463B-AA52-77B0B7D6709E}" srcOrd="1" destOrd="0" presId="urn:microsoft.com/office/officeart/2005/8/layout/orgChart1"/>
    <dgm:cxn modelId="{3CD6A8A5-4941-4951-9E24-5F79D492D50C}" srcId="{14A3E19A-2595-44D9-AFF5-7971E5AC19F7}" destId="{FD97DB05-0DFF-4C18-91C3-40117AD0028A}" srcOrd="1" destOrd="0" parTransId="{8AF8C17F-7A96-443E-B948-2BE4BBA06B99}" sibTransId="{F730BFAE-8BE6-4C6D-8137-FD6051CB60F7}"/>
    <dgm:cxn modelId="{B4E7A9B0-E439-4727-B94C-B27EBE44670A}" srcId="{14A3E19A-2595-44D9-AFF5-7971E5AC19F7}" destId="{86332DE0-F14E-4A2D-8F8C-54F9E566E07C}" srcOrd="3" destOrd="0" parTransId="{C1CB71F0-FD67-4F28-A14B-46AF86CCBD84}" sibTransId="{D1B8EDCC-8B38-41A6-A698-1CBF2DBD752E}"/>
    <dgm:cxn modelId="{4F0046BD-8024-46E8-8A09-74DAA08CF004}" type="presOf" srcId="{299B70CE-7874-4EE8-982E-509355CFB6BE}" destId="{43079B45-F9C6-4E2E-9EC4-89A8AB129D58}" srcOrd="1" destOrd="0" presId="urn:microsoft.com/office/officeart/2005/8/layout/orgChart1"/>
    <dgm:cxn modelId="{8A57ACBE-5F7D-4B7C-B8E7-FE7C86377764}" type="presOf" srcId="{51AA66F8-12A4-4881-8B13-7FFD0D2F349C}" destId="{600EA4F5-4489-4607-818F-ECE2353503C4}" srcOrd="1" destOrd="0" presId="urn:microsoft.com/office/officeart/2005/8/layout/orgChart1"/>
    <dgm:cxn modelId="{13325CE4-C8D7-4086-B593-38F63B4C603F}" type="presOf" srcId="{D710F1C2-4B5E-42E6-9C5A-4D7A15B1FA8A}" destId="{E08E8CCC-6ECD-47E1-9672-578C10FFB08C}" srcOrd="0" destOrd="0" presId="urn:microsoft.com/office/officeart/2005/8/layout/orgChart1"/>
    <dgm:cxn modelId="{171DB1E5-2176-4C12-BC7B-213E03CF1A28}" type="presOf" srcId="{F1F2BCE9-2027-4D3B-9930-86D31A56A437}" destId="{B32A6351-78A8-4D45-8A30-4D0526E5124D}" srcOrd="0" destOrd="0" presId="urn:microsoft.com/office/officeart/2005/8/layout/orgChart1"/>
    <dgm:cxn modelId="{7EBEE1E8-D697-476F-9B67-6A83AA139B3E}" type="presOf" srcId="{51AA66F8-12A4-4881-8B13-7FFD0D2F349C}" destId="{BF8D931A-991B-41E9-89C9-2E7C0BE9141A}" srcOrd="0" destOrd="0" presId="urn:microsoft.com/office/officeart/2005/8/layout/orgChart1"/>
    <dgm:cxn modelId="{C227DDE9-51D2-4DA3-B86D-16B4D28CF236}" type="presOf" srcId="{14A3E19A-2595-44D9-AFF5-7971E5AC19F7}" destId="{123CAB2F-8BCF-469F-A49B-25B189F4D2B2}" srcOrd="0" destOrd="0" presId="urn:microsoft.com/office/officeart/2005/8/layout/orgChart1"/>
    <dgm:cxn modelId="{C242F6E9-AA4E-480E-88A7-331F380EF2AB}" type="presOf" srcId="{299B70CE-7874-4EE8-982E-509355CFB6BE}" destId="{93EC354C-F182-407E-BDE9-8B3AF0870E02}" srcOrd="0" destOrd="0" presId="urn:microsoft.com/office/officeart/2005/8/layout/orgChart1"/>
    <dgm:cxn modelId="{48F2F7E9-D9BF-4237-B9AC-5AD116C2DFFC}" type="presOf" srcId="{8AF8C17F-7A96-443E-B948-2BE4BBA06B99}" destId="{0F906FF7-9B41-4197-AB51-5CD8B39AB4E4}" srcOrd="0" destOrd="0" presId="urn:microsoft.com/office/officeart/2005/8/layout/orgChart1"/>
    <dgm:cxn modelId="{14CABBF6-9FFD-40F3-8570-463C1D637D91}" srcId="{14A3E19A-2595-44D9-AFF5-7971E5AC19F7}" destId="{2E5EAA58-3D99-4A84-B898-D928BC19FC19}" srcOrd="5" destOrd="0" parTransId="{F1F2BCE9-2027-4D3B-9930-86D31A56A437}" sibTransId="{F1511B23-B190-4B44-87D9-28A033EE409C}"/>
    <dgm:cxn modelId="{07EE3EEA-B76F-4CB0-BB3F-E3FB71CDD45F}" type="presParOf" srcId="{DD6AAA36-6B00-4248-AE28-DC792737C4D9}" destId="{7ACECD24-3F16-4BF8-BCC0-9380295706B7}" srcOrd="0" destOrd="0" presId="urn:microsoft.com/office/officeart/2005/8/layout/orgChart1"/>
    <dgm:cxn modelId="{623E21F6-5B71-4B34-AECC-E58EF093CEE3}" type="presParOf" srcId="{7ACECD24-3F16-4BF8-BCC0-9380295706B7}" destId="{98807DB0-2B35-4AB3-80F8-BFAB3F74E637}" srcOrd="0" destOrd="0" presId="urn:microsoft.com/office/officeart/2005/8/layout/orgChart1"/>
    <dgm:cxn modelId="{70C58573-B794-4BB0-99CE-B8F77D491C5A}" type="presParOf" srcId="{98807DB0-2B35-4AB3-80F8-BFAB3F74E637}" destId="{123CAB2F-8BCF-469F-A49B-25B189F4D2B2}" srcOrd="0" destOrd="0" presId="urn:microsoft.com/office/officeart/2005/8/layout/orgChart1"/>
    <dgm:cxn modelId="{2122F6A6-8CDD-4612-9063-51FC804D5963}" type="presParOf" srcId="{98807DB0-2B35-4AB3-80F8-BFAB3F74E637}" destId="{E1A3E9DA-31FB-4232-9A18-AD72FC10E6FB}" srcOrd="1" destOrd="0" presId="urn:microsoft.com/office/officeart/2005/8/layout/orgChart1"/>
    <dgm:cxn modelId="{CD70E031-78F3-482E-8676-D67EB47B2FAD}" type="presParOf" srcId="{7ACECD24-3F16-4BF8-BCC0-9380295706B7}" destId="{45BF8878-1F87-4FAB-ADA0-861509A09393}" srcOrd="1" destOrd="0" presId="urn:microsoft.com/office/officeart/2005/8/layout/orgChart1"/>
    <dgm:cxn modelId="{8E3F4E6D-64E0-4DBE-BBF0-83029A439139}" type="presParOf" srcId="{45BF8878-1F87-4FAB-ADA0-861509A09393}" destId="{254F65FE-C79B-468C-BC5D-276871C7034A}" srcOrd="0" destOrd="0" presId="urn:microsoft.com/office/officeart/2005/8/layout/orgChart1"/>
    <dgm:cxn modelId="{EA76729C-EF4A-4A70-9441-AF05E2173783}" type="presParOf" srcId="{45BF8878-1F87-4FAB-ADA0-861509A09393}" destId="{040CC438-D5B8-4F0E-9DD8-5B96E6C23B84}" srcOrd="1" destOrd="0" presId="urn:microsoft.com/office/officeart/2005/8/layout/orgChart1"/>
    <dgm:cxn modelId="{E32D20C6-1AEB-457B-B3B7-2BE810E20503}" type="presParOf" srcId="{040CC438-D5B8-4F0E-9DD8-5B96E6C23B84}" destId="{27F065E2-2D7E-41F7-B99B-AD9DED507CE3}" srcOrd="0" destOrd="0" presId="urn:microsoft.com/office/officeart/2005/8/layout/orgChart1"/>
    <dgm:cxn modelId="{229A2794-FD39-4C52-A758-ABDE40116C2E}" type="presParOf" srcId="{27F065E2-2D7E-41F7-B99B-AD9DED507CE3}" destId="{02FF8342-2DF6-40E0-BC8D-D65784D53755}" srcOrd="0" destOrd="0" presId="urn:microsoft.com/office/officeart/2005/8/layout/orgChart1"/>
    <dgm:cxn modelId="{BAC7492F-FEBC-417F-BC8C-06BDFA2AC4C7}" type="presParOf" srcId="{27F065E2-2D7E-41F7-B99B-AD9DED507CE3}" destId="{35F09F86-08E9-4CF4-B866-C73A9683E8CF}" srcOrd="1" destOrd="0" presId="urn:microsoft.com/office/officeart/2005/8/layout/orgChart1"/>
    <dgm:cxn modelId="{36B30969-5CD2-4536-965A-F2F4BFDB6A12}" type="presParOf" srcId="{040CC438-D5B8-4F0E-9DD8-5B96E6C23B84}" destId="{B974B204-B1C9-4F68-913C-FD2BD0E39304}" srcOrd="1" destOrd="0" presId="urn:microsoft.com/office/officeart/2005/8/layout/orgChart1"/>
    <dgm:cxn modelId="{4D970F61-C2BC-4363-A133-751290BBC054}" type="presParOf" srcId="{040CC438-D5B8-4F0E-9DD8-5B96E6C23B84}" destId="{9EDC0949-EEE5-4AB8-AB3D-8E9D51BAC9F0}" srcOrd="2" destOrd="0" presId="urn:microsoft.com/office/officeart/2005/8/layout/orgChart1"/>
    <dgm:cxn modelId="{7DF9C437-7E58-49FC-AB81-7E2B1702A7D7}" type="presParOf" srcId="{45BF8878-1F87-4FAB-ADA0-861509A09393}" destId="{67A22ED7-E031-44A1-A9D6-4022C69DF9A3}" srcOrd="2" destOrd="0" presId="urn:microsoft.com/office/officeart/2005/8/layout/orgChart1"/>
    <dgm:cxn modelId="{66796413-4E34-4B57-ABC0-E9CE504E5694}" type="presParOf" srcId="{45BF8878-1F87-4FAB-ADA0-861509A09393}" destId="{040E2744-9C25-4B13-9460-7F1206F5DC4F}" srcOrd="3" destOrd="0" presId="urn:microsoft.com/office/officeart/2005/8/layout/orgChart1"/>
    <dgm:cxn modelId="{DCD439C8-F400-4EC1-A82C-459232B2EB04}" type="presParOf" srcId="{040E2744-9C25-4B13-9460-7F1206F5DC4F}" destId="{72E12544-AA39-486D-8B2B-25862AE4DF15}" srcOrd="0" destOrd="0" presId="urn:microsoft.com/office/officeart/2005/8/layout/orgChart1"/>
    <dgm:cxn modelId="{EAA5853A-6EE3-4941-B09C-D335B0AF14A3}" type="presParOf" srcId="{72E12544-AA39-486D-8B2B-25862AE4DF15}" destId="{BF8D931A-991B-41E9-89C9-2E7C0BE9141A}" srcOrd="0" destOrd="0" presId="urn:microsoft.com/office/officeart/2005/8/layout/orgChart1"/>
    <dgm:cxn modelId="{C5980090-1C8C-4CAC-9606-91BF9EBE7F8B}" type="presParOf" srcId="{72E12544-AA39-486D-8B2B-25862AE4DF15}" destId="{600EA4F5-4489-4607-818F-ECE2353503C4}" srcOrd="1" destOrd="0" presId="urn:microsoft.com/office/officeart/2005/8/layout/orgChart1"/>
    <dgm:cxn modelId="{E4723426-2DAB-405A-9B32-0FEE3B6F5B55}" type="presParOf" srcId="{040E2744-9C25-4B13-9460-7F1206F5DC4F}" destId="{AD9CB998-CD0B-4612-857C-B81904EA2066}" srcOrd="1" destOrd="0" presId="urn:microsoft.com/office/officeart/2005/8/layout/orgChart1"/>
    <dgm:cxn modelId="{2B8C5A2C-C5A9-4329-A3A8-94752499CCAE}" type="presParOf" srcId="{040E2744-9C25-4B13-9460-7F1206F5DC4F}" destId="{460D4A13-55AC-4D13-B5EB-6FCCCAB1F070}" srcOrd="2" destOrd="0" presId="urn:microsoft.com/office/officeart/2005/8/layout/orgChart1"/>
    <dgm:cxn modelId="{82A8E3F4-3EC0-4D14-8868-B3154E4CFC94}" type="presParOf" srcId="{45BF8878-1F87-4FAB-ADA0-861509A09393}" destId="{B32A6351-78A8-4D45-8A30-4D0526E5124D}" srcOrd="4" destOrd="0" presId="urn:microsoft.com/office/officeart/2005/8/layout/orgChart1"/>
    <dgm:cxn modelId="{17BD4C3D-984F-4E3E-9D43-782A76A52B13}" type="presParOf" srcId="{45BF8878-1F87-4FAB-ADA0-861509A09393}" destId="{6492FDC5-7242-45A3-A01C-513C0C896B72}" srcOrd="5" destOrd="0" presId="urn:microsoft.com/office/officeart/2005/8/layout/orgChart1"/>
    <dgm:cxn modelId="{D5947AB7-909D-47F0-90AF-5074122A8A9B}" type="presParOf" srcId="{6492FDC5-7242-45A3-A01C-513C0C896B72}" destId="{761C2143-A5D2-4BFA-B6A7-F3E49E1D73EB}" srcOrd="0" destOrd="0" presId="urn:microsoft.com/office/officeart/2005/8/layout/orgChart1"/>
    <dgm:cxn modelId="{8408EA81-F7BD-4776-B7C6-5027FB04A458}" type="presParOf" srcId="{761C2143-A5D2-4BFA-B6A7-F3E49E1D73EB}" destId="{BF6CBF8C-89BF-41FB-8F92-91E22DC9EEED}" srcOrd="0" destOrd="0" presId="urn:microsoft.com/office/officeart/2005/8/layout/orgChart1"/>
    <dgm:cxn modelId="{43B1D3E4-945C-4AE0-8D61-CD62858BDDB0}" type="presParOf" srcId="{761C2143-A5D2-4BFA-B6A7-F3E49E1D73EB}" destId="{3EE7888C-BCAA-43C7-96AD-C60FF1EFE7AF}" srcOrd="1" destOrd="0" presId="urn:microsoft.com/office/officeart/2005/8/layout/orgChart1"/>
    <dgm:cxn modelId="{0C3E499A-A756-4E55-B2E0-D6174DFD7853}" type="presParOf" srcId="{6492FDC5-7242-45A3-A01C-513C0C896B72}" destId="{652356D9-728D-42D2-9ABC-3E30900C489C}" srcOrd="1" destOrd="0" presId="urn:microsoft.com/office/officeart/2005/8/layout/orgChart1"/>
    <dgm:cxn modelId="{A3ABDE85-E7CD-4C65-AEB1-84CE3D97F130}" type="presParOf" srcId="{6492FDC5-7242-45A3-A01C-513C0C896B72}" destId="{6C466A31-5CD3-4D72-891B-4250C2C8CF59}" srcOrd="2" destOrd="0" presId="urn:microsoft.com/office/officeart/2005/8/layout/orgChart1"/>
    <dgm:cxn modelId="{63F193E1-363F-4766-B2E3-52D05BC55F75}" type="presParOf" srcId="{7ACECD24-3F16-4BF8-BCC0-9380295706B7}" destId="{388F32FF-3851-4B94-B9B5-B6E8E4BEAFC8}" srcOrd="2" destOrd="0" presId="urn:microsoft.com/office/officeart/2005/8/layout/orgChart1"/>
    <dgm:cxn modelId="{F9B246DD-7272-4573-B48A-0DC47BF04BE8}" type="presParOf" srcId="{388F32FF-3851-4B94-B9B5-B6E8E4BEAFC8}" destId="{E08E8CCC-6ECD-47E1-9672-578C10FFB08C}" srcOrd="0" destOrd="0" presId="urn:microsoft.com/office/officeart/2005/8/layout/orgChart1"/>
    <dgm:cxn modelId="{3BB38F97-06B4-4248-9D10-9D1EC03F08CD}" type="presParOf" srcId="{388F32FF-3851-4B94-B9B5-B6E8E4BEAFC8}" destId="{D414E82F-C566-43E7-A558-9F6FF412334C}" srcOrd="1" destOrd="0" presId="urn:microsoft.com/office/officeart/2005/8/layout/orgChart1"/>
    <dgm:cxn modelId="{08850FF4-35F2-4660-9CDD-66C2B7077386}" type="presParOf" srcId="{D414E82F-C566-43E7-A558-9F6FF412334C}" destId="{3435C3C9-66C4-419B-8AEC-110C2F9E1F0A}" srcOrd="0" destOrd="0" presId="urn:microsoft.com/office/officeart/2005/8/layout/orgChart1"/>
    <dgm:cxn modelId="{4C048FE3-A08A-435A-8A28-86679793E6E4}" type="presParOf" srcId="{3435C3C9-66C4-419B-8AEC-110C2F9E1F0A}" destId="{93EC354C-F182-407E-BDE9-8B3AF0870E02}" srcOrd="0" destOrd="0" presId="urn:microsoft.com/office/officeart/2005/8/layout/orgChart1"/>
    <dgm:cxn modelId="{87AF05FD-04E4-4F2A-B429-36A5CE43A92D}" type="presParOf" srcId="{3435C3C9-66C4-419B-8AEC-110C2F9E1F0A}" destId="{43079B45-F9C6-4E2E-9EC4-89A8AB129D58}" srcOrd="1" destOrd="0" presId="urn:microsoft.com/office/officeart/2005/8/layout/orgChart1"/>
    <dgm:cxn modelId="{0BD1E3AA-7FD2-41A9-AC53-61A57F2D313B}" type="presParOf" srcId="{D414E82F-C566-43E7-A558-9F6FF412334C}" destId="{A781C735-1865-4906-AABE-9CE3206ECF1D}" srcOrd="1" destOrd="0" presId="urn:microsoft.com/office/officeart/2005/8/layout/orgChart1"/>
    <dgm:cxn modelId="{F870A102-8198-4246-A2FE-74369447F698}" type="presParOf" srcId="{D414E82F-C566-43E7-A558-9F6FF412334C}" destId="{DCB68E4D-43A4-4079-AC72-6DFF845B84BF}" srcOrd="2" destOrd="0" presId="urn:microsoft.com/office/officeart/2005/8/layout/orgChart1"/>
    <dgm:cxn modelId="{EEFC3D0F-D485-4B91-A2D2-86928D842425}" type="presParOf" srcId="{388F32FF-3851-4B94-B9B5-B6E8E4BEAFC8}" destId="{0F906FF7-9B41-4197-AB51-5CD8B39AB4E4}" srcOrd="2" destOrd="0" presId="urn:microsoft.com/office/officeart/2005/8/layout/orgChart1"/>
    <dgm:cxn modelId="{4FE1CEA9-7D6E-40C7-A278-9D7DBE97A62A}" type="presParOf" srcId="{388F32FF-3851-4B94-B9B5-B6E8E4BEAFC8}" destId="{FB8C9C59-22A1-4259-B10B-F162CD9F707F}" srcOrd="3" destOrd="0" presId="urn:microsoft.com/office/officeart/2005/8/layout/orgChart1"/>
    <dgm:cxn modelId="{6F22DF4F-ECE5-4135-AEBE-87988F0AD688}" type="presParOf" srcId="{FB8C9C59-22A1-4259-B10B-F162CD9F707F}" destId="{7A18FEA0-F9C3-4CEB-8D8F-3FFFF60FD76A}" srcOrd="0" destOrd="0" presId="urn:microsoft.com/office/officeart/2005/8/layout/orgChart1"/>
    <dgm:cxn modelId="{9FD6DB1C-4561-41A2-96DA-CFBFC8A48D6F}" type="presParOf" srcId="{7A18FEA0-F9C3-4CEB-8D8F-3FFFF60FD76A}" destId="{C864E17F-99EE-4D94-9CF7-7F2B2A2DA8BE}" srcOrd="0" destOrd="0" presId="urn:microsoft.com/office/officeart/2005/8/layout/orgChart1"/>
    <dgm:cxn modelId="{9A4223C5-1DDB-42E2-9AF8-79512EFD822A}" type="presParOf" srcId="{7A18FEA0-F9C3-4CEB-8D8F-3FFFF60FD76A}" destId="{0BD884A6-B455-463B-AA52-77B0B7D6709E}" srcOrd="1" destOrd="0" presId="urn:microsoft.com/office/officeart/2005/8/layout/orgChart1"/>
    <dgm:cxn modelId="{184B1FB4-B815-4A16-A939-79876F0D828B}" type="presParOf" srcId="{FB8C9C59-22A1-4259-B10B-F162CD9F707F}" destId="{20AA3C14-5705-4B1A-BC66-217914A9D8C4}" srcOrd="1" destOrd="0" presId="urn:microsoft.com/office/officeart/2005/8/layout/orgChart1"/>
    <dgm:cxn modelId="{97A3CFD5-E62C-40BB-952D-7354FA69A323}" type="presParOf" srcId="{FB8C9C59-22A1-4259-B10B-F162CD9F707F}" destId="{AEA49542-0D1E-4ED2-B4D0-DA8D6012D62E}" srcOrd="2" destOrd="0" presId="urn:microsoft.com/office/officeart/2005/8/layout/orgChart1"/>
    <dgm:cxn modelId="{8A9344CF-C215-4388-A224-811C2AC384A8}" type="presParOf" srcId="{388F32FF-3851-4B94-B9B5-B6E8E4BEAFC8}" destId="{226F0D68-ABEF-4EAC-A6E3-20BA86189EE0}" srcOrd="4" destOrd="0" presId="urn:microsoft.com/office/officeart/2005/8/layout/orgChart1"/>
    <dgm:cxn modelId="{D632C6B0-50B2-45C9-B5C9-FE268DC50D08}" type="presParOf" srcId="{388F32FF-3851-4B94-B9B5-B6E8E4BEAFC8}" destId="{B83E1195-9E26-424C-9FA8-002D245BA729}" srcOrd="5" destOrd="0" presId="urn:microsoft.com/office/officeart/2005/8/layout/orgChart1"/>
    <dgm:cxn modelId="{564EC8ED-3AA3-45CF-B8FD-94FD1F886234}" type="presParOf" srcId="{B83E1195-9E26-424C-9FA8-002D245BA729}" destId="{0FDC3013-DC21-459E-9BB9-6ECF95ADA4C4}" srcOrd="0" destOrd="0" presId="urn:microsoft.com/office/officeart/2005/8/layout/orgChart1"/>
    <dgm:cxn modelId="{76459516-13BE-4D42-912F-D1BFDBBD5FD7}" type="presParOf" srcId="{0FDC3013-DC21-459E-9BB9-6ECF95ADA4C4}" destId="{67742410-C38F-4770-9A2C-8AB9EA79FEBD}" srcOrd="0" destOrd="0" presId="urn:microsoft.com/office/officeart/2005/8/layout/orgChart1"/>
    <dgm:cxn modelId="{E9522F8F-0A1B-40DA-98AB-F0F733AF5197}" type="presParOf" srcId="{0FDC3013-DC21-459E-9BB9-6ECF95ADA4C4}" destId="{08A948ED-48F1-4BC9-A40D-6E8440309401}" srcOrd="1" destOrd="0" presId="urn:microsoft.com/office/officeart/2005/8/layout/orgChart1"/>
    <dgm:cxn modelId="{514D4001-153D-45C8-B2A1-5D5ACE22A884}" type="presParOf" srcId="{B83E1195-9E26-424C-9FA8-002D245BA729}" destId="{DA3C4AC8-131F-4BD3-808C-D49B8477CAC0}" srcOrd="1" destOrd="0" presId="urn:microsoft.com/office/officeart/2005/8/layout/orgChart1"/>
    <dgm:cxn modelId="{A3EF1711-4392-48D9-A237-EB56F3DD7C48}" type="presParOf" srcId="{B83E1195-9E26-424C-9FA8-002D245BA729}" destId="{4A627119-48D8-44F9-B7E2-338C7E41F0FF}"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6F0D68-ABEF-4EAC-A6E3-20BA86189EE0}">
      <dsp:nvSpPr>
        <dsp:cNvPr id="0" name=""/>
        <dsp:cNvSpPr/>
      </dsp:nvSpPr>
      <dsp:spPr>
        <a:xfrm>
          <a:off x="3384019" y="860049"/>
          <a:ext cx="180465" cy="2010896"/>
        </a:xfrm>
        <a:custGeom>
          <a:avLst/>
          <a:gdLst/>
          <a:ahLst/>
          <a:cxnLst/>
          <a:rect l="0" t="0" r="0" b="0"/>
          <a:pathLst>
            <a:path>
              <a:moveTo>
                <a:pt x="180465" y="0"/>
              </a:moveTo>
              <a:lnTo>
                <a:pt x="180465" y="2010896"/>
              </a:lnTo>
              <a:lnTo>
                <a:pt x="0" y="2010896"/>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906FF7-9B41-4197-AB51-5CD8B39AB4E4}">
      <dsp:nvSpPr>
        <dsp:cNvPr id="0" name=""/>
        <dsp:cNvSpPr/>
      </dsp:nvSpPr>
      <dsp:spPr>
        <a:xfrm>
          <a:off x="3564485" y="860049"/>
          <a:ext cx="180465" cy="790609"/>
        </a:xfrm>
        <a:custGeom>
          <a:avLst/>
          <a:gdLst/>
          <a:ahLst/>
          <a:cxnLst/>
          <a:rect l="0" t="0" r="0" b="0"/>
          <a:pathLst>
            <a:path>
              <a:moveTo>
                <a:pt x="0" y="0"/>
              </a:moveTo>
              <a:lnTo>
                <a:pt x="0" y="790609"/>
              </a:lnTo>
              <a:lnTo>
                <a:pt x="180465" y="790609"/>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8E8CCC-6ECD-47E1-9672-578C10FFB08C}">
      <dsp:nvSpPr>
        <dsp:cNvPr id="0" name=""/>
        <dsp:cNvSpPr/>
      </dsp:nvSpPr>
      <dsp:spPr>
        <a:xfrm>
          <a:off x="3384019" y="860049"/>
          <a:ext cx="180465" cy="790609"/>
        </a:xfrm>
        <a:custGeom>
          <a:avLst/>
          <a:gdLst/>
          <a:ahLst/>
          <a:cxnLst/>
          <a:rect l="0" t="0" r="0" b="0"/>
          <a:pathLst>
            <a:path>
              <a:moveTo>
                <a:pt x="180465" y="0"/>
              </a:moveTo>
              <a:lnTo>
                <a:pt x="180465" y="790609"/>
              </a:lnTo>
              <a:lnTo>
                <a:pt x="0" y="790609"/>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2A6351-78A8-4D45-8A30-4D0526E5124D}">
      <dsp:nvSpPr>
        <dsp:cNvPr id="0" name=""/>
        <dsp:cNvSpPr/>
      </dsp:nvSpPr>
      <dsp:spPr>
        <a:xfrm>
          <a:off x="3564485" y="860049"/>
          <a:ext cx="2160923" cy="2801505"/>
        </a:xfrm>
        <a:custGeom>
          <a:avLst/>
          <a:gdLst/>
          <a:ahLst/>
          <a:cxnLst/>
          <a:rect l="0" t="0" r="0" b="0"/>
          <a:pathLst>
            <a:path>
              <a:moveTo>
                <a:pt x="0" y="0"/>
              </a:moveTo>
              <a:lnTo>
                <a:pt x="0" y="2621040"/>
              </a:lnTo>
              <a:lnTo>
                <a:pt x="2160923" y="2621040"/>
              </a:lnTo>
              <a:lnTo>
                <a:pt x="2160923" y="2801505"/>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A22ED7-E031-44A1-A9D6-4022C69DF9A3}">
      <dsp:nvSpPr>
        <dsp:cNvPr id="0" name=""/>
        <dsp:cNvSpPr/>
      </dsp:nvSpPr>
      <dsp:spPr>
        <a:xfrm>
          <a:off x="3518765" y="860049"/>
          <a:ext cx="91440" cy="2801505"/>
        </a:xfrm>
        <a:custGeom>
          <a:avLst/>
          <a:gdLst/>
          <a:ahLst/>
          <a:cxnLst/>
          <a:rect l="0" t="0" r="0" b="0"/>
          <a:pathLst>
            <a:path>
              <a:moveTo>
                <a:pt x="45720" y="0"/>
              </a:moveTo>
              <a:lnTo>
                <a:pt x="45720" y="2801505"/>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4F65FE-C79B-468C-BC5D-276871C7034A}">
      <dsp:nvSpPr>
        <dsp:cNvPr id="0" name=""/>
        <dsp:cNvSpPr/>
      </dsp:nvSpPr>
      <dsp:spPr>
        <a:xfrm>
          <a:off x="1403561" y="860049"/>
          <a:ext cx="2160923" cy="2801505"/>
        </a:xfrm>
        <a:custGeom>
          <a:avLst/>
          <a:gdLst/>
          <a:ahLst/>
          <a:cxnLst/>
          <a:rect l="0" t="0" r="0" b="0"/>
          <a:pathLst>
            <a:path>
              <a:moveTo>
                <a:pt x="2160923" y="0"/>
              </a:moveTo>
              <a:lnTo>
                <a:pt x="2160923" y="2621040"/>
              </a:lnTo>
              <a:lnTo>
                <a:pt x="0" y="2621040"/>
              </a:lnTo>
              <a:lnTo>
                <a:pt x="0" y="2801505"/>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3CAB2F-8BCF-469F-A49B-25B189F4D2B2}">
      <dsp:nvSpPr>
        <dsp:cNvPr id="0" name=""/>
        <dsp:cNvSpPr/>
      </dsp:nvSpPr>
      <dsp:spPr>
        <a:xfrm>
          <a:off x="2705127" y="691"/>
          <a:ext cx="1718715" cy="859357"/>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it-IT" sz="1800" b="1" kern="1200">
              <a:latin typeface="Arial Narrow" pitchFamily="34" charset="0"/>
            </a:rPr>
            <a:t>Area Nord Ovest</a:t>
          </a:r>
        </a:p>
        <a:p>
          <a:pPr marL="0" lvl="0" indent="0" algn="ctr" defTabSz="800100">
            <a:lnSpc>
              <a:spcPct val="90000"/>
            </a:lnSpc>
            <a:spcBef>
              <a:spcPct val="0"/>
            </a:spcBef>
            <a:spcAft>
              <a:spcPct val="35000"/>
            </a:spcAft>
            <a:buNone/>
          </a:pPr>
          <a:r>
            <a:rPr lang="it-IT" sz="1400" b="1" kern="1200">
              <a:latin typeface="Arial Narrow" pitchFamily="34" charset="0"/>
            </a:rPr>
            <a:t>Andrea Poggi</a:t>
          </a:r>
          <a:endParaRPr lang="it-IT" sz="1400" b="1" kern="1200" dirty="0">
            <a:latin typeface="Arial Narrow" pitchFamily="34" charset="0"/>
          </a:endParaRPr>
        </a:p>
      </dsp:txBody>
      <dsp:txXfrm>
        <a:off x="2747077" y="42641"/>
        <a:ext cx="1634815" cy="775457"/>
      </dsp:txXfrm>
    </dsp:sp>
    <dsp:sp modelId="{02FF8342-2DF6-40E0-BC8D-D65784D53755}">
      <dsp:nvSpPr>
        <dsp:cNvPr id="0" name=""/>
        <dsp:cNvSpPr/>
      </dsp:nvSpPr>
      <dsp:spPr>
        <a:xfrm>
          <a:off x="503564" y="3661555"/>
          <a:ext cx="1799993" cy="1629376"/>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it-IT" sz="1800" b="1" kern="1200">
              <a:latin typeface="Arial Narrow" pitchFamily="34" charset="0"/>
            </a:rPr>
            <a:t>UT Cuneo </a:t>
          </a:r>
          <a:br>
            <a:rPr lang="it-IT" sz="1400" b="1" kern="1200" baseline="-25000">
              <a:latin typeface="Arial Narrow" pitchFamily="34" charset="0"/>
            </a:rPr>
          </a:br>
          <a:r>
            <a:rPr lang="it-IT" sz="1400" b="1" kern="1200" baseline="0">
              <a:latin typeface="Arial Narrow" pitchFamily="34" charset="0"/>
            </a:rPr>
            <a:t>Marco Delsanto</a:t>
          </a:r>
          <a:br>
            <a:rPr lang="it-IT" sz="1400" b="1" kern="1200" baseline="0">
              <a:latin typeface="Arial Narrow" pitchFamily="34" charset="0"/>
            </a:rPr>
          </a:br>
          <a:br>
            <a:rPr lang="it-IT" sz="1400" b="1" kern="1200" baseline="0">
              <a:latin typeface="Arial Narrow" pitchFamily="34" charset="0"/>
            </a:rPr>
          </a:br>
          <a:r>
            <a:rPr lang="it-IT" sz="1400" b="1" kern="1200" baseline="0">
              <a:latin typeface="Arial Narrow" pitchFamily="34" charset="0"/>
            </a:rPr>
            <a:t>Ou Entracque</a:t>
          </a:r>
          <a:br>
            <a:rPr lang="it-IT" sz="1400" b="1" kern="1200" baseline="0">
              <a:latin typeface="Arial Narrow" pitchFamily="34" charset="0"/>
            </a:rPr>
          </a:br>
          <a:r>
            <a:rPr lang="it-IT" sz="1400" b="1" kern="1200" baseline="0">
              <a:latin typeface="Arial Narrow" pitchFamily="34" charset="0"/>
            </a:rPr>
            <a:t>Ou S. Damiano</a:t>
          </a:r>
          <a:br>
            <a:rPr lang="it-IT" sz="1400" b="1" kern="1200" baseline="0">
              <a:latin typeface="Arial Narrow" pitchFamily="34" charset="0"/>
            </a:rPr>
          </a:br>
          <a:r>
            <a:rPr lang="it-IT" sz="1400" b="1" kern="1200" baseline="0">
              <a:latin typeface="Arial Narrow" pitchFamily="34" charset="0"/>
            </a:rPr>
            <a:t>Ou Demonte</a:t>
          </a:r>
          <a:endParaRPr lang="it-IT" sz="1400" b="1" kern="1200" baseline="0" dirty="0">
            <a:latin typeface="Arial Narrow" pitchFamily="34" charset="0"/>
          </a:endParaRPr>
        </a:p>
      </dsp:txBody>
      <dsp:txXfrm>
        <a:off x="583104" y="3741095"/>
        <a:ext cx="1640913" cy="1470296"/>
      </dsp:txXfrm>
    </dsp:sp>
    <dsp:sp modelId="{BF8D931A-991B-41E9-89C9-2E7C0BE9141A}">
      <dsp:nvSpPr>
        <dsp:cNvPr id="0" name=""/>
        <dsp:cNvSpPr/>
      </dsp:nvSpPr>
      <dsp:spPr>
        <a:xfrm>
          <a:off x="2664488" y="3661555"/>
          <a:ext cx="1799993" cy="1633363"/>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it-IT" sz="1800" b="1" kern="1200" dirty="0">
              <a:latin typeface="Arial Narrow" pitchFamily="34" charset="0"/>
            </a:rPr>
            <a:t>UT Torino</a:t>
          </a:r>
          <a:br>
            <a:rPr lang="it-IT" sz="1400" b="1" kern="1200" baseline="-25000" dirty="0">
              <a:latin typeface="Arial Narrow" pitchFamily="34" charset="0"/>
            </a:rPr>
          </a:br>
          <a:r>
            <a:rPr lang="it-IT" sz="1400" b="1" kern="1200" baseline="0" dirty="0">
              <a:latin typeface="Arial Narrow" pitchFamily="34" charset="0"/>
            </a:rPr>
            <a:t>Gaetano Vallese</a:t>
          </a:r>
          <a:br>
            <a:rPr lang="it-IT" sz="1400" b="1" kern="1200" baseline="0" dirty="0">
              <a:latin typeface="Arial Narrow" pitchFamily="34" charset="0"/>
            </a:rPr>
          </a:br>
          <a:br>
            <a:rPr lang="it-IT" sz="1400" b="1" kern="1200" baseline="0" dirty="0">
              <a:latin typeface="Arial Narrow" pitchFamily="34" charset="0"/>
            </a:rPr>
          </a:br>
          <a:r>
            <a:rPr lang="it-IT" sz="1400" b="1" kern="1200" baseline="0" dirty="0" err="1">
              <a:latin typeface="Arial Narrow" pitchFamily="34" charset="0"/>
            </a:rPr>
            <a:t>Ou</a:t>
          </a:r>
          <a:r>
            <a:rPr lang="it-IT" sz="1400" b="1" kern="1200" baseline="0" dirty="0">
              <a:latin typeface="Arial Narrow" pitchFamily="34" charset="0"/>
            </a:rPr>
            <a:t> Venaus</a:t>
          </a:r>
          <a:br>
            <a:rPr lang="it-IT" sz="1400" b="1" kern="1200" baseline="0" dirty="0">
              <a:latin typeface="Arial Narrow" pitchFamily="34" charset="0"/>
            </a:rPr>
          </a:br>
          <a:r>
            <a:rPr lang="it-IT" sz="1400" b="1" kern="1200" baseline="0" dirty="0" err="1">
              <a:latin typeface="Arial Narrow" pitchFamily="34" charset="0"/>
            </a:rPr>
            <a:t>Ou</a:t>
          </a:r>
          <a:r>
            <a:rPr lang="it-IT" sz="1400" b="1" kern="1200" baseline="0" dirty="0">
              <a:latin typeface="Arial Narrow" pitchFamily="34" charset="0"/>
            </a:rPr>
            <a:t> </a:t>
          </a:r>
          <a:r>
            <a:rPr lang="it-IT" sz="1400" b="1" kern="1200" baseline="0" dirty="0" err="1">
              <a:latin typeface="Arial Narrow" pitchFamily="34" charset="0"/>
            </a:rPr>
            <a:t>Funghera</a:t>
          </a:r>
          <a:br>
            <a:rPr lang="it-IT" sz="1400" b="1" kern="1200" baseline="0" dirty="0">
              <a:latin typeface="Arial Narrow" pitchFamily="34" charset="0"/>
            </a:rPr>
          </a:br>
          <a:endParaRPr lang="it-IT" sz="1400" b="1" kern="1200" baseline="0" dirty="0">
            <a:latin typeface="Arial Narrow" pitchFamily="34" charset="0"/>
          </a:endParaRPr>
        </a:p>
      </dsp:txBody>
      <dsp:txXfrm>
        <a:off x="2744222" y="3741289"/>
        <a:ext cx="1640525" cy="1473895"/>
      </dsp:txXfrm>
    </dsp:sp>
    <dsp:sp modelId="{BF6CBF8C-89BF-41FB-8F92-91E22DC9EEED}">
      <dsp:nvSpPr>
        <dsp:cNvPr id="0" name=""/>
        <dsp:cNvSpPr/>
      </dsp:nvSpPr>
      <dsp:spPr>
        <a:xfrm>
          <a:off x="4825411" y="3661555"/>
          <a:ext cx="1799993" cy="1621453"/>
        </a:xfrm>
        <a:prstGeom prst="roundRect">
          <a:avLst/>
        </a:prstGeom>
        <a:solidFill>
          <a:srgbClr val="FFFF0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it-IT" sz="1800" b="1" kern="1200" dirty="0">
              <a:latin typeface="Arial Narrow" pitchFamily="34" charset="0"/>
            </a:rPr>
            <a:t>UT Domodossola</a:t>
          </a:r>
        </a:p>
        <a:p>
          <a:pPr marL="0" lvl="0" indent="0" algn="ctr" defTabSz="800100">
            <a:lnSpc>
              <a:spcPct val="90000"/>
            </a:lnSpc>
            <a:spcBef>
              <a:spcPct val="0"/>
            </a:spcBef>
            <a:spcAft>
              <a:spcPct val="35000"/>
            </a:spcAft>
            <a:buNone/>
          </a:pPr>
          <a:r>
            <a:rPr lang="it-IT" sz="1400" b="1" kern="1200" baseline="0" dirty="0">
              <a:latin typeface="Arial Narrow" pitchFamily="34" charset="0"/>
            </a:rPr>
            <a:t>Stefano Basano</a:t>
          </a:r>
          <a:br>
            <a:rPr lang="it-IT" sz="1400" b="1" kern="1200" baseline="0" dirty="0">
              <a:latin typeface="Arial Narrow" pitchFamily="34" charset="0"/>
            </a:rPr>
          </a:br>
          <a:br>
            <a:rPr lang="it-IT" sz="1400" b="1" kern="1200" baseline="0" dirty="0">
              <a:latin typeface="Arial Narrow" pitchFamily="34" charset="0"/>
            </a:rPr>
          </a:br>
          <a:r>
            <a:rPr lang="it-IT" sz="1400" b="1" kern="1200" baseline="0" dirty="0" err="1">
              <a:latin typeface="Arial Narrow" pitchFamily="34" charset="0"/>
            </a:rPr>
            <a:t>Ou</a:t>
          </a:r>
          <a:r>
            <a:rPr lang="it-IT" sz="1400" b="1" kern="1200" baseline="0" dirty="0">
              <a:latin typeface="Arial Narrow" pitchFamily="34" charset="0"/>
            </a:rPr>
            <a:t> Ponte</a:t>
          </a:r>
          <a:br>
            <a:rPr lang="it-IT" sz="1400" b="1" kern="1200" baseline="0" dirty="0">
              <a:latin typeface="Arial Narrow" pitchFamily="34" charset="0"/>
            </a:rPr>
          </a:br>
          <a:r>
            <a:rPr lang="it-IT" sz="1400" b="1" kern="1200" baseline="0" dirty="0" err="1">
              <a:latin typeface="Arial Narrow" pitchFamily="34" charset="0"/>
            </a:rPr>
            <a:t>Ou</a:t>
          </a:r>
          <a:r>
            <a:rPr lang="it-IT" sz="1400" b="1" kern="1200" baseline="0" dirty="0">
              <a:latin typeface="Arial Narrow" pitchFamily="34" charset="0"/>
            </a:rPr>
            <a:t> Verampio</a:t>
          </a:r>
          <a:br>
            <a:rPr lang="it-IT" sz="1400" b="1" kern="1200" baseline="0" dirty="0">
              <a:latin typeface="Arial Narrow" pitchFamily="34" charset="0"/>
            </a:rPr>
          </a:br>
          <a:r>
            <a:rPr lang="it-IT" sz="1400" b="1" kern="1200" baseline="0" dirty="0" err="1">
              <a:latin typeface="Arial Narrow" pitchFamily="34" charset="0"/>
            </a:rPr>
            <a:t>Ou</a:t>
          </a:r>
          <a:r>
            <a:rPr lang="it-IT" sz="1400" b="1" kern="1200" baseline="0" dirty="0">
              <a:latin typeface="Arial Narrow" pitchFamily="34" charset="0"/>
            </a:rPr>
            <a:t> Pallanzeno</a:t>
          </a:r>
          <a:br>
            <a:rPr lang="it-IT" sz="1400" b="1" kern="1200" baseline="0" dirty="0">
              <a:latin typeface="Arial Narrow" pitchFamily="34" charset="0"/>
            </a:rPr>
          </a:br>
          <a:r>
            <a:rPr lang="it-IT" sz="1400" b="1" kern="1200" baseline="0" dirty="0" err="1">
              <a:latin typeface="Arial Narrow" pitchFamily="34" charset="0"/>
            </a:rPr>
            <a:t>Ou</a:t>
          </a:r>
          <a:r>
            <a:rPr lang="it-IT" sz="1400" b="1" kern="1200" baseline="0" dirty="0">
              <a:latin typeface="Arial Narrow" pitchFamily="34" charset="0"/>
            </a:rPr>
            <a:t> Crevola</a:t>
          </a:r>
        </a:p>
      </dsp:txBody>
      <dsp:txXfrm>
        <a:off x="4904564" y="3740708"/>
        <a:ext cx="1641687" cy="1463147"/>
      </dsp:txXfrm>
    </dsp:sp>
    <dsp:sp modelId="{93EC354C-F182-407E-BDE9-8B3AF0870E02}">
      <dsp:nvSpPr>
        <dsp:cNvPr id="0" name=""/>
        <dsp:cNvSpPr/>
      </dsp:nvSpPr>
      <dsp:spPr>
        <a:xfrm>
          <a:off x="1665304" y="1220979"/>
          <a:ext cx="1718715" cy="859357"/>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ts val="600"/>
            </a:spcBef>
            <a:spcAft>
              <a:spcPct val="35000"/>
            </a:spcAft>
            <a:buNone/>
          </a:pPr>
          <a:r>
            <a:rPr lang="it-IT" sz="1600" b="1" kern="1200">
              <a:latin typeface="Arial Narrow" pitchFamily="34" charset="0"/>
            </a:rPr>
            <a:t>HSEQ</a:t>
          </a:r>
          <a:br>
            <a:rPr lang="it-IT" sz="1400" b="1" kern="1200">
              <a:latin typeface="Arial Narrow" pitchFamily="34" charset="0"/>
            </a:rPr>
          </a:br>
          <a:r>
            <a:rPr lang="it-IT" sz="1400" b="1" kern="1200">
              <a:latin typeface="Arial Narrow" pitchFamily="34" charset="0"/>
            </a:rPr>
            <a:t>Guido Pennella</a:t>
          </a:r>
          <a:endParaRPr lang="it-IT" sz="1400" b="1" kern="1200" dirty="0">
            <a:latin typeface="Arial Narrow" pitchFamily="34" charset="0"/>
          </a:endParaRPr>
        </a:p>
      </dsp:txBody>
      <dsp:txXfrm>
        <a:off x="1707254" y="1262929"/>
        <a:ext cx="1634815" cy="775457"/>
      </dsp:txXfrm>
    </dsp:sp>
    <dsp:sp modelId="{C864E17F-99EE-4D94-9CF7-7F2B2A2DA8BE}">
      <dsp:nvSpPr>
        <dsp:cNvPr id="0" name=""/>
        <dsp:cNvSpPr/>
      </dsp:nvSpPr>
      <dsp:spPr>
        <a:xfrm>
          <a:off x="3744950" y="1220979"/>
          <a:ext cx="1718715" cy="859357"/>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it-IT" sz="1600" b="1" kern="1200">
              <a:latin typeface="Arial Narrow" pitchFamily="34" charset="0"/>
            </a:rPr>
            <a:t>Water Management</a:t>
          </a:r>
        </a:p>
        <a:p>
          <a:pPr marL="0" lvl="0" indent="0" algn="ctr" defTabSz="711200">
            <a:lnSpc>
              <a:spcPct val="90000"/>
            </a:lnSpc>
            <a:spcBef>
              <a:spcPct val="0"/>
            </a:spcBef>
            <a:spcAft>
              <a:spcPct val="35000"/>
            </a:spcAft>
            <a:buNone/>
          </a:pPr>
          <a:r>
            <a:rPr lang="it-IT" sz="1400" b="1" kern="1200">
              <a:latin typeface="Arial Narrow" pitchFamily="34" charset="0"/>
            </a:rPr>
            <a:t>Andrea Bertino</a:t>
          </a:r>
          <a:endParaRPr lang="it-IT" sz="1400" b="1" kern="1200" dirty="0">
            <a:latin typeface="Arial Narrow" pitchFamily="34" charset="0"/>
          </a:endParaRPr>
        </a:p>
      </dsp:txBody>
      <dsp:txXfrm>
        <a:off x="3786900" y="1262929"/>
        <a:ext cx="1634815" cy="775457"/>
      </dsp:txXfrm>
    </dsp:sp>
    <dsp:sp modelId="{67742410-C38F-4770-9A2C-8AB9EA79FEBD}">
      <dsp:nvSpPr>
        <dsp:cNvPr id="0" name=""/>
        <dsp:cNvSpPr/>
      </dsp:nvSpPr>
      <dsp:spPr>
        <a:xfrm>
          <a:off x="1665304" y="2441267"/>
          <a:ext cx="1718715" cy="859357"/>
        </a:xfrm>
        <a:prstGeom prst="roundRect">
          <a:avLst/>
        </a:prstGeom>
        <a:solidFill>
          <a:srgbClr val="FFFF0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ts val="600"/>
            </a:spcBef>
            <a:spcAft>
              <a:spcPct val="35000"/>
            </a:spcAft>
            <a:buNone/>
          </a:pPr>
          <a:r>
            <a:rPr lang="it-IT" sz="1600" b="1" kern="1200" dirty="0" err="1">
              <a:latin typeface="Arial Narrow" pitchFamily="34" charset="0"/>
            </a:rPr>
            <a:t>Maintenance</a:t>
          </a:r>
          <a:br>
            <a:rPr lang="it-IT" sz="1400" b="1" kern="1200" dirty="0">
              <a:latin typeface="Arial Narrow" pitchFamily="34" charset="0"/>
            </a:rPr>
          </a:br>
          <a:r>
            <a:rPr lang="it-IT" sz="1400" b="1" kern="1200" dirty="0">
              <a:latin typeface="Arial Narrow" pitchFamily="34" charset="0"/>
            </a:rPr>
            <a:t>Gaetano Vallese</a:t>
          </a:r>
        </a:p>
      </dsp:txBody>
      <dsp:txXfrm>
        <a:off x="1707254" y="2483217"/>
        <a:ext cx="1634815" cy="77545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0"/>
            <a:ext cx="4293372" cy="340814"/>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5610315" y="0"/>
            <a:ext cx="4293372" cy="340814"/>
          </a:xfrm>
          <a:prstGeom prst="rect">
            <a:avLst/>
          </a:prstGeom>
        </p:spPr>
        <p:txBody>
          <a:bodyPr vert="horz" lIns="91440" tIns="45720" rIns="91440" bIns="45720" rtlCol="0"/>
          <a:lstStyle>
            <a:lvl1pPr algn="r">
              <a:defRPr sz="1200"/>
            </a:lvl1pPr>
          </a:lstStyle>
          <a:p>
            <a:fld id="{218BDD1B-C95E-4D65-88DA-B2C5CF72372A}" type="datetimeFigureOut">
              <a:rPr lang="it-IT" smtClean="0"/>
              <a:t>10/02/2026</a:t>
            </a:fld>
            <a:endParaRPr lang="it-IT"/>
          </a:p>
        </p:txBody>
      </p:sp>
      <p:sp>
        <p:nvSpPr>
          <p:cNvPr id="4" name="Segnaposto piè di pagina 3"/>
          <p:cNvSpPr>
            <a:spLocks noGrp="1"/>
          </p:cNvSpPr>
          <p:nvPr>
            <p:ph type="ftr" sz="quarter" idx="2"/>
          </p:nvPr>
        </p:nvSpPr>
        <p:spPr>
          <a:xfrm>
            <a:off x="1" y="6453687"/>
            <a:ext cx="4293372" cy="340814"/>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5610315" y="6453687"/>
            <a:ext cx="4293372" cy="340814"/>
          </a:xfrm>
          <a:prstGeom prst="rect">
            <a:avLst/>
          </a:prstGeom>
        </p:spPr>
        <p:txBody>
          <a:bodyPr vert="horz" lIns="91440" tIns="45720" rIns="91440" bIns="45720" rtlCol="0" anchor="b"/>
          <a:lstStyle>
            <a:lvl1pPr algn="r">
              <a:defRPr sz="1200"/>
            </a:lvl1pPr>
          </a:lstStyle>
          <a:p>
            <a:fld id="{78E277F6-8836-4518-9989-6109E37C6657}" type="slidenum">
              <a:rPr lang="it-IT" smtClean="0"/>
              <a:t>‹N›</a:t>
            </a:fld>
            <a:endParaRPr lang="it-IT"/>
          </a:p>
        </p:txBody>
      </p:sp>
    </p:spTree>
    <p:extLst>
      <p:ext uri="{BB962C8B-B14F-4D97-AF65-F5344CB8AC3E}">
        <p14:creationId xmlns:p14="http://schemas.microsoft.com/office/powerpoint/2010/main" val="16211865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4292600" cy="340905"/>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5611109" y="0"/>
            <a:ext cx="4292600" cy="340905"/>
          </a:xfrm>
          <a:prstGeom prst="rect">
            <a:avLst/>
          </a:prstGeom>
        </p:spPr>
        <p:txBody>
          <a:bodyPr vert="horz" lIns="91440" tIns="45720" rIns="91440" bIns="45720" rtlCol="0"/>
          <a:lstStyle>
            <a:lvl1pPr algn="r">
              <a:defRPr sz="1200"/>
            </a:lvl1pPr>
          </a:lstStyle>
          <a:p>
            <a:fld id="{B761F002-827B-48C8-893B-5D7707CA5D0A}" type="datetimeFigureOut">
              <a:rPr lang="it-IT" smtClean="0"/>
              <a:t>10/02/2026</a:t>
            </a:fld>
            <a:endParaRPr lang="it-IT"/>
          </a:p>
        </p:txBody>
      </p:sp>
      <p:sp>
        <p:nvSpPr>
          <p:cNvPr id="4" name="Segnaposto immagine diapositiva 3"/>
          <p:cNvSpPr>
            <a:spLocks noGrp="1" noRot="1" noChangeAspect="1"/>
          </p:cNvSpPr>
          <p:nvPr>
            <p:ph type="sldImg" idx="2"/>
          </p:nvPr>
        </p:nvSpPr>
        <p:spPr>
          <a:xfrm>
            <a:off x="2914650" y="849313"/>
            <a:ext cx="4076700" cy="229393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990600" y="3269853"/>
            <a:ext cx="7924800" cy="2675335"/>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6453596"/>
            <a:ext cx="4292600" cy="340904"/>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5611109" y="6453596"/>
            <a:ext cx="4292600" cy="340904"/>
          </a:xfrm>
          <a:prstGeom prst="rect">
            <a:avLst/>
          </a:prstGeom>
        </p:spPr>
        <p:txBody>
          <a:bodyPr vert="horz" lIns="91440" tIns="45720" rIns="91440" bIns="45720" rtlCol="0" anchor="b"/>
          <a:lstStyle>
            <a:lvl1pPr algn="r">
              <a:defRPr sz="1200"/>
            </a:lvl1pPr>
          </a:lstStyle>
          <a:p>
            <a:fld id="{3485EEAC-B161-4C31-B7AE-8A95C569A710}" type="slidenum">
              <a:rPr lang="it-IT" smtClean="0"/>
              <a:t>‹N›</a:t>
            </a:fld>
            <a:endParaRPr lang="it-IT"/>
          </a:p>
        </p:txBody>
      </p:sp>
    </p:spTree>
    <p:extLst>
      <p:ext uri="{BB962C8B-B14F-4D97-AF65-F5344CB8AC3E}">
        <p14:creationId xmlns:p14="http://schemas.microsoft.com/office/powerpoint/2010/main" val="2717635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69FBE-55E4-1762-F4D8-3C4C1B154C86}"/>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BC79FA9B-6DEC-97DA-A673-289BA0C9FBAC}"/>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A06DB3C2-53AF-0035-F987-1596021716F1}"/>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921E7199-C461-10AE-7568-213BA34EE13C}"/>
              </a:ext>
            </a:extLst>
          </p:cNvPr>
          <p:cNvSpPr>
            <a:spLocks noGrp="1"/>
          </p:cNvSpPr>
          <p:nvPr>
            <p:ph type="sldNum" sz="quarter" idx="10"/>
          </p:nvPr>
        </p:nvSpPr>
        <p:spPr/>
        <p:txBody>
          <a:bodyPr/>
          <a:lstStyle/>
          <a:p>
            <a:fld id="{3485EEAC-B161-4C31-B7AE-8A95C569A710}" type="slidenum">
              <a:rPr lang="it-IT" smtClean="0"/>
              <a:t>2</a:t>
            </a:fld>
            <a:endParaRPr lang="it-IT"/>
          </a:p>
        </p:txBody>
      </p:sp>
    </p:spTree>
    <p:extLst>
      <p:ext uri="{BB962C8B-B14F-4D97-AF65-F5344CB8AC3E}">
        <p14:creationId xmlns:p14="http://schemas.microsoft.com/office/powerpoint/2010/main" val="908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3485EEAC-B161-4C31-B7AE-8A95C569A710}" type="slidenum">
              <a:rPr lang="it-IT" smtClean="0"/>
              <a:t>3</a:t>
            </a:fld>
            <a:endParaRPr lang="it-IT"/>
          </a:p>
        </p:txBody>
      </p:sp>
    </p:spTree>
    <p:extLst>
      <p:ext uri="{BB962C8B-B14F-4D97-AF65-F5344CB8AC3E}">
        <p14:creationId xmlns:p14="http://schemas.microsoft.com/office/powerpoint/2010/main" val="940378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2B8CA-92E4-C983-9FC7-F855251BAF7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E96FB3DD-23BA-3905-8E50-CDD75FD5D72C}"/>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AC9CB174-DCC2-3CB9-A81A-A9D5745D53D4}"/>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DBC0CEE9-FAF5-F99C-9C8B-F43761E8F66F}"/>
              </a:ext>
            </a:extLst>
          </p:cNvPr>
          <p:cNvSpPr>
            <a:spLocks noGrp="1"/>
          </p:cNvSpPr>
          <p:nvPr>
            <p:ph type="sldNum" sz="quarter" idx="10"/>
          </p:nvPr>
        </p:nvSpPr>
        <p:spPr/>
        <p:txBody>
          <a:bodyPr/>
          <a:lstStyle/>
          <a:p>
            <a:fld id="{3485EEAC-B161-4C31-B7AE-8A95C569A710}" type="slidenum">
              <a:rPr lang="it-IT" smtClean="0"/>
              <a:t>4</a:t>
            </a:fld>
            <a:endParaRPr lang="it-IT"/>
          </a:p>
        </p:txBody>
      </p:sp>
    </p:spTree>
    <p:extLst>
      <p:ext uri="{BB962C8B-B14F-4D97-AF65-F5344CB8AC3E}">
        <p14:creationId xmlns:p14="http://schemas.microsoft.com/office/powerpoint/2010/main" val="3395671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98B57-49DE-7CF0-821F-A92372DFFF9B}"/>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2456EC7-3374-D23A-DF04-FF0B51315B00}"/>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8630CCCE-A6BE-4469-6C2D-D0B3AE22072B}"/>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BC866FE3-9E04-EB17-04F4-06CA6532E4C8}"/>
              </a:ext>
            </a:extLst>
          </p:cNvPr>
          <p:cNvSpPr>
            <a:spLocks noGrp="1"/>
          </p:cNvSpPr>
          <p:nvPr>
            <p:ph type="sldNum" sz="quarter" idx="10"/>
          </p:nvPr>
        </p:nvSpPr>
        <p:spPr/>
        <p:txBody>
          <a:bodyPr/>
          <a:lstStyle/>
          <a:p>
            <a:fld id="{3485EEAC-B161-4C31-B7AE-8A95C569A710}" type="slidenum">
              <a:rPr lang="it-IT" smtClean="0"/>
              <a:t>5</a:t>
            </a:fld>
            <a:endParaRPr lang="it-IT"/>
          </a:p>
        </p:txBody>
      </p:sp>
    </p:spTree>
    <p:extLst>
      <p:ext uri="{BB962C8B-B14F-4D97-AF65-F5344CB8AC3E}">
        <p14:creationId xmlns:p14="http://schemas.microsoft.com/office/powerpoint/2010/main" val="3953327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7E611-EA97-1C6E-6081-90F87747282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117048D1-FF25-34E0-5E03-5FFAFF94A94D}"/>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34262471-51F9-EC34-A132-875DBB999716}"/>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F454D966-BF05-1873-BF35-D88C24FB0800}"/>
              </a:ext>
            </a:extLst>
          </p:cNvPr>
          <p:cNvSpPr>
            <a:spLocks noGrp="1"/>
          </p:cNvSpPr>
          <p:nvPr>
            <p:ph type="sldNum" sz="quarter" idx="10"/>
          </p:nvPr>
        </p:nvSpPr>
        <p:spPr/>
        <p:txBody>
          <a:bodyPr/>
          <a:lstStyle/>
          <a:p>
            <a:fld id="{3485EEAC-B161-4C31-B7AE-8A95C569A710}" type="slidenum">
              <a:rPr lang="it-IT" smtClean="0"/>
              <a:t>6</a:t>
            </a:fld>
            <a:endParaRPr lang="it-IT"/>
          </a:p>
        </p:txBody>
      </p:sp>
    </p:spTree>
    <p:extLst>
      <p:ext uri="{BB962C8B-B14F-4D97-AF65-F5344CB8AC3E}">
        <p14:creationId xmlns:p14="http://schemas.microsoft.com/office/powerpoint/2010/main" val="3415764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900AE-FA0B-93BB-7CE4-3246DC0E2294}"/>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B06C2F98-9F9C-99EC-DD76-2EDEE35F22A9}"/>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B21C385D-B244-B740-311C-8626590A8C2A}"/>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1B4C5F54-445F-AAE6-58E9-FA6A161E83C0}"/>
              </a:ext>
            </a:extLst>
          </p:cNvPr>
          <p:cNvSpPr>
            <a:spLocks noGrp="1"/>
          </p:cNvSpPr>
          <p:nvPr>
            <p:ph type="sldNum" sz="quarter" idx="10"/>
          </p:nvPr>
        </p:nvSpPr>
        <p:spPr/>
        <p:txBody>
          <a:bodyPr/>
          <a:lstStyle/>
          <a:p>
            <a:fld id="{3485EEAC-B161-4C31-B7AE-8A95C569A710}" type="slidenum">
              <a:rPr lang="it-IT" smtClean="0"/>
              <a:t>7</a:t>
            </a:fld>
            <a:endParaRPr lang="it-IT"/>
          </a:p>
        </p:txBody>
      </p:sp>
    </p:spTree>
    <p:extLst>
      <p:ext uri="{BB962C8B-B14F-4D97-AF65-F5344CB8AC3E}">
        <p14:creationId xmlns:p14="http://schemas.microsoft.com/office/powerpoint/2010/main" val="38580473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67">
                <a:solidFill>
                  <a:schemeClr val="tx1"/>
                </a:solidFill>
              </a:defRPr>
            </a:lvl1pPr>
            <a:lvl2pPr marL="457178" indent="0" algn="ctr">
              <a:buNone/>
              <a:defRPr sz="2000"/>
            </a:lvl2pPr>
            <a:lvl3pPr marL="914354" indent="0" algn="ctr">
              <a:buNone/>
              <a:defRPr sz="1867"/>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Fare clic per modificare lo stile del sottotitolo dello schema</a:t>
            </a:r>
            <a:endParaRPr lang="en-GB" dirty="0"/>
          </a:p>
        </p:txBody>
      </p:sp>
      <p:sp>
        <p:nvSpPr>
          <p:cNvPr id="4" name="Date Placeholder 3"/>
          <p:cNvSpPr>
            <a:spLocks noGrp="1"/>
          </p:cNvSpPr>
          <p:nvPr>
            <p:ph type="dt" sz="half" idx="10"/>
          </p:nvPr>
        </p:nvSpPr>
        <p:spPr>
          <a:xfrm>
            <a:off x="765520" y="3429010"/>
            <a:ext cx="1510613" cy="276999"/>
          </a:xfrm>
          <a:prstGeom prst="rect">
            <a:avLst/>
          </a:prstGeom>
        </p:spPr>
        <p:txBody>
          <a:bodyPr lIns="68579" tIns="34289" rIns="68579" bIns="34289" anchor="t">
            <a:noAutofit/>
          </a:bodyPr>
          <a:lstStyle>
            <a:lvl1pPr>
              <a:lnSpc>
                <a:spcPct val="90000"/>
              </a:lnSpc>
              <a:defRPr sz="1867">
                <a:solidFill>
                  <a:schemeClr val="tx1"/>
                </a:solidFill>
              </a:defRPr>
            </a:lvl1pPr>
          </a:lstStyle>
          <a:p>
            <a:pPr defTabSz="914354"/>
            <a:endParaRPr lang="en-GB" dirty="0">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9" tIns="45719" rIns="91439" bIns="45719" rtlCol="0" anchor="ctr"/>
          <a:lstStyle/>
          <a:p>
            <a:pPr algn="ctr" defTabSz="914354"/>
            <a:endParaRPr lang="en-GB" sz="1867">
              <a:solidFill>
                <a:prstClr val="black"/>
              </a:solidFill>
            </a:endParaRP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tretch>
            <a:fillRect/>
          </a:stretch>
        </p:blipFill>
        <p:spPr bwMode="auto">
          <a:xfrm>
            <a:off x="9497963" y="5483501"/>
            <a:ext cx="1932039" cy="963659"/>
          </a:xfrm>
          <a:prstGeom prst="rect">
            <a:avLst/>
          </a:prstGeom>
          <a:noFill/>
        </p:spPr>
      </p:pic>
    </p:spTree>
    <p:extLst>
      <p:ext uri="{BB962C8B-B14F-4D97-AF65-F5344CB8AC3E}">
        <p14:creationId xmlns:p14="http://schemas.microsoft.com/office/powerpoint/2010/main" val="4965726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a:xfrm>
            <a:off x="762001" y="404301"/>
            <a:ext cx="8375651" cy="394980"/>
          </a:xfrm>
        </p:spPr>
        <p:txBody>
          <a:bodyPr/>
          <a:lstStyle>
            <a:lvl1pPr>
              <a:defRPr sz="2400">
                <a:solidFill>
                  <a:schemeClr val="bg1"/>
                </a:solidFill>
              </a:defRPr>
            </a:lvl1p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819548"/>
            <a:ext cx="8375651" cy="276999"/>
          </a:xfrm>
        </p:spPr>
        <p:txBody>
          <a:bodyPr rIns="0">
            <a:noAutofit/>
          </a:bodyPr>
          <a:lstStyle>
            <a:lvl1pPr>
              <a:defRPr sz="16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3977073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ggetto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Tree>
    <p:extLst>
      <p:ext uri="{BB962C8B-B14F-4D97-AF65-F5344CB8AC3E}">
        <p14:creationId xmlns:p14="http://schemas.microsoft.com/office/powerpoint/2010/main" val="3330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Layout personalizzato">
    <p:spTree>
      <p:nvGrpSpPr>
        <p:cNvPr id="1" name=""/>
        <p:cNvGrpSpPr/>
        <p:nvPr/>
      </p:nvGrpSpPr>
      <p:grpSpPr>
        <a:xfrm>
          <a:off x="0" y="0"/>
          <a:ext cx="0" cy="0"/>
          <a:chOff x="0" y="0"/>
          <a:chExt cx="0" cy="0"/>
        </a:xfrm>
      </p:grpSpPr>
      <p:sp>
        <p:nvSpPr>
          <p:cNvPr id="3" name="Segnaposto numero diapositiva 2"/>
          <p:cNvSpPr>
            <a:spLocks noGrp="1"/>
          </p:cNvSpPr>
          <p:nvPr>
            <p:ph type="sldNum" sz="quarter" idx="10"/>
          </p:nvPr>
        </p:nvSpPr>
        <p:spPr/>
        <p:txBody>
          <a:bodyPr/>
          <a:lstStyle/>
          <a:p>
            <a:pPr>
              <a:defRPr/>
            </a:pPr>
            <a:fld id="{75F870F5-A8EE-406C-AA57-200223E45060}" type="slidenum">
              <a:rPr lang="it-IT" smtClean="0">
                <a:solidFill>
                  <a:srgbClr val="C6C6C6">
                    <a:lumMod val="75000"/>
                  </a:srgbClr>
                </a:solidFill>
              </a:rPr>
              <a:pPr>
                <a:defRPr/>
              </a:pPr>
              <a:t>‹N›</a:t>
            </a:fld>
            <a:endParaRPr lang="it-IT" dirty="0">
              <a:solidFill>
                <a:srgbClr val="C6C6C6">
                  <a:lumMod val="75000"/>
                </a:srgbClr>
              </a:solidFill>
            </a:endParaRPr>
          </a:p>
        </p:txBody>
      </p:sp>
      <p:sp>
        <p:nvSpPr>
          <p:cNvPr id="6" name="Title 1"/>
          <p:cNvSpPr>
            <a:spLocks noGrp="1"/>
          </p:cNvSpPr>
          <p:nvPr>
            <p:ph type="title"/>
          </p:nvPr>
        </p:nvSpPr>
        <p:spPr>
          <a:xfrm>
            <a:off x="716281" y="418662"/>
            <a:ext cx="8375651" cy="394980"/>
          </a:xfrm>
        </p:spPr>
        <p:txBody>
          <a:bodyPr/>
          <a:lstStyle>
            <a:lvl1pPr>
              <a:defRPr>
                <a:solidFill>
                  <a:schemeClr val="bg1"/>
                </a:solidFill>
              </a:defRPr>
            </a:lvl1pPr>
          </a:lstStyle>
          <a:p>
            <a:r>
              <a:rPr lang="it-IT"/>
              <a:t>Fare clic per modificare lo stile del titolo</a:t>
            </a:r>
            <a:endParaRPr lang="en-GB"/>
          </a:p>
        </p:txBody>
      </p:sp>
      <p:sp>
        <p:nvSpPr>
          <p:cNvPr id="7" name="Text Placeholder 7"/>
          <p:cNvSpPr>
            <a:spLocks noGrp="1"/>
          </p:cNvSpPr>
          <p:nvPr>
            <p:ph type="body" sz="quarter" idx="13" hasCustomPrompt="1"/>
          </p:nvPr>
        </p:nvSpPr>
        <p:spPr>
          <a:xfrm>
            <a:off x="716281" y="833909"/>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34309412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9146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7" name="Oggetto 6"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pPr defTabSz="914354"/>
            <a:fld id="{D150A53C-B9A1-449F-85EE-BC4B5D4FF9EA}" type="datetime1">
              <a:rPr lang="en-GB" sz="1867" smtClean="0">
                <a:solidFill>
                  <a:prstClr val="black"/>
                </a:solidFill>
              </a:rPr>
              <a:pPr defTabSz="914354"/>
              <a:t>10/02/2026</a:t>
            </a:fld>
            <a:endParaRPr lang="en-GB" sz="1867">
              <a:solidFill>
                <a:prstClr val="black"/>
              </a:solidFill>
            </a:endParaRPr>
          </a:p>
        </p:txBody>
      </p:sp>
      <p:sp>
        <p:nvSpPr>
          <p:cNvPr id="5" name="Footer Placeholder 4"/>
          <p:cNvSpPr>
            <a:spLocks noGrp="1"/>
          </p:cNvSpPr>
          <p:nvPr>
            <p:ph type="ftr" sz="quarter" idx="11"/>
          </p:nvPr>
        </p:nvSpPr>
        <p:spPr>
          <a:xfrm>
            <a:off x="2282826" y="6264005"/>
            <a:ext cx="8381999" cy="153888"/>
          </a:xfrm>
          <a:prstGeom prst="rect">
            <a:avLst/>
          </a:prstGeom>
        </p:spPr>
        <p:txBody>
          <a:bodyPr/>
          <a:lstStyle>
            <a:lvl1pPr>
              <a:lnSpc>
                <a:spcPct val="90000"/>
              </a:lnSpc>
              <a:defRPr/>
            </a:lvl1pPr>
          </a:lstStyle>
          <a:p>
            <a:pPr defTabSz="914354"/>
            <a:r>
              <a:rPr lang="en-GB" sz="1867">
                <a:solidFill>
                  <a:prstClr val="black"/>
                </a:solidFill>
              </a:rPr>
              <a:t>Presentation footer 10PT. Please add the relevant country to the footer.</a:t>
            </a:r>
            <a:endParaRPr lang="en-GB" sz="1867" dirty="0">
              <a:solidFill>
                <a:prstClr val="black"/>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pPr/>
              <a:t>‹N›</a:t>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685800" y="826287"/>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3871465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ulo solamente">
    <p:spTree>
      <p:nvGrpSpPr>
        <p:cNvPr id="1" name=""/>
        <p:cNvGrpSpPr/>
        <p:nvPr/>
      </p:nvGrpSpPr>
      <p:grpSpPr>
        <a:xfrm>
          <a:off x="0" y="0"/>
          <a:ext cx="0" cy="0"/>
          <a:chOff x="0" y="0"/>
          <a:chExt cx="0" cy="0"/>
        </a:xfrm>
      </p:grpSpPr>
      <p:sp>
        <p:nvSpPr>
          <p:cNvPr id="4" name="Title 1"/>
          <p:cNvSpPr>
            <a:spLocks noGrp="1"/>
          </p:cNvSpPr>
          <p:nvPr>
            <p:ph type="title"/>
          </p:nvPr>
        </p:nvSpPr>
        <p:spPr>
          <a:xfrm>
            <a:off x="708661" y="426282"/>
            <a:ext cx="8375651" cy="394980"/>
          </a:xfrm>
        </p:spPr>
        <p:txBody>
          <a:bodyPr/>
          <a:lstStyle>
            <a:lvl1pPr>
              <a:defRPr>
                <a:solidFill>
                  <a:schemeClr val="bg1"/>
                </a:solidFill>
              </a:defRPr>
            </a:lvl1pPr>
          </a:lstStyle>
          <a:p>
            <a:r>
              <a:rPr lang="it-IT"/>
              <a:t>Fare clic per modificare lo stile del titolo</a:t>
            </a:r>
            <a:endParaRPr lang="en-GB"/>
          </a:p>
        </p:txBody>
      </p:sp>
      <p:sp>
        <p:nvSpPr>
          <p:cNvPr id="6" name="Date Placeholder 2"/>
          <p:cNvSpPr>
            <a:spLocks noGrp="1"/>
          </p:cNvSpPr>
          <p:nvPr>
            <p:ph type="dt" sz="half" idx="10"/>
          </p:nvPr>
        </p:nvSpPr>
        <p:spPr>
          <a:xfrm>
            <a:off x="772211" y="6264005"/>
            <a:ext cx="1510613" cy="153888"/>
          </a:xfrm>
          <a:prstGeom prst="rect">
            <a:avLst/>
          </a:prstGeom>
        </p:spPr>
        <p:txBody>
          <a:bodyPr/>
          <a:lstStyle/>
          <a:p>
            <a:pPr defTabSz="914354"/>
            <a:fld id="{854780A5-C5EE-4C63-88CC-32FFBFC5B302}" type="datetime1">
              <a:rPr lang="en-GB" sz="1867" smtClean="0">
                <a:solidFill>
                  <a:srgbClr val="C6C6C6">
                    <a:lumMod val="75000"/>
                  </a:srgbClr>
                </a:solidFill>
              </a:rPr>
              <a:pPr defTabSz="914354"/>
              <a:t>10/02/2026</a:t>
            </a:fld>
            <a:endParaRPr lang="en-GB" sz="1867">
              <a:solidFill>
                <a:srgbClr val="C6C6C6">
                  <a:lumMod val="75000"/>
                </a:srgbClr>
              </a:solidFill>
            </a:endParaRPr>
          </a:p>
        </p:txBody>
      </p:sp>
      <p:sp>
        <p:nvSpPr>
          <p:cNvPr id="8" name="Footer Placeholder 3"/>
          <p:cNvSpPr>
            <a:spLocks noGrp="1"/>
          </p:cNvSpPr>
          <p:nvPr>
            <p:ph type="ftr" sz="quarter" idx="11"/>
          </p:nvPr>
        </p:nvSpPr>
        <p:spPr>
          <a:xfrm>
            <a:off x="2282827" y="6264005"/>
            <a:ext cx="8381999" cy="153888"/>
          </a:xfrm>
          <a:prstGeom prst="rect">
            <a:avLst/>
          </a:prstGeom>
        </p:spPr>
        <p:txBody>
          <a:bodyPr/>
          <a:lstStyle/>
          <a:p>
            <a:pPr defTabSz="914354"/>
            <a:r>
              <a:rPr lang="en-GB" sz="1867">
                <a:solidFill>
                  <a:srgbClr val="C6C6C6">
                    <a:lumMod val="75000"/>
                  </a:srgbClr>
                </a:solidFill>
              </a:rPr>
              <a:t>Presentation footer 10PT. Please add the relevant country to the footer.</a:t>
            </a:r>
            <a:endParaRPr lang="en-GB" sz="1867" dirty="0">
              <a:solidFill>
                <a:srgbClr val="C6C6C6">
                  <a:lumMod val="75000"/>
                </a:srgbClr>
              </a:solidFill>
            </a:endParaRPr>
          </a:p>
        </p:txBody>
      </p:sp>
      <p:sp>
        <p:nvSpPr>
          <p:cNvPr id="9" name="Text Placeholder 7"/>
          <p:cNvSpPr>
            <a:spLocks noGrp="1"/>
          </p:cNvSpPr>
          <p:nvPr>
            <p:ph type="body" sz="quarter" idx="13" hasCustomPrompt="1"/>
          </p:nvPr>
        </p:nvSpPr>
        <p:spPr>
          <a:xfrm>
            <a:off x="708661" y="841529"/>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
        <p:nvSpPr>
          <p:cNvPr id="10"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Tree>
    <p:extLst>
      <p:ext uri="{BB962C8B-B14F-4D97-AF65-F5344CB8AC3E}">
        <p14:creationId xmlns:p14="http://schemas.microsoft.com/office/powerpoint/2010/main" val="1238247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dirty="0"/>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pPr defTabSz="914354"/>
            <a:r>
              <a:rPr lang="it-IT" sz="1867">
                <a:solidFill>
                  <a:prstClr val="black"/>
                </a:solidFill>
              </a:rPr>
              <a:t>28/01/17</a:t>
            </a:r>
            <a:endParaRPr lang="en-GB" sz="1867">
              <a:solidFill>
                <a:prstClr val="black"/>
              </a:solidFill>
            </a:endParaRPr>
          </a:p>
        </p:txBody>
      </p:sp>
      <p:sp>
        <p:nvSpPr>
          <p:cNvPr id="5" name="Footer Placeholder 4"/>
          <p:cNvSpPr>
            <a:spLocks noGrp="1"/>
          </p:cNvSpPr>
          <p:nvPr>
            <p:ph type="ftr" sz="quarter" idx="11"/>
          </p:nvPr>
        </p:nvSpPr>
        <p:spPr>
          <a:xfrm>
            <a:off x="2282830" y="6264005"/>
            <a:ext cx="8381999" cy="153888"/>
          </a:xfrm>
          <a:prstGeom prst="rect">
            <a:avLst/>
          </a:prstGeom>
        </p:spPr>
        <p:txBody>
          <a:bodyPr/>
          <a:lstStyle>
            <a:lvl1pPr>
              <a:lnSpc>
                <a:spcPct val="90000"/>
              </a:lnSpc>
              <a:defRPr/>
            </a:lvl1pPr>
          </a:lstStyle>
          <a:p>
            <a:pPr defTabSz="914354"/>
            <a:r>
              <a:rPr lang="en-US" sz="1867">
                <a:solidFill>
                  <a:prstClr val="black"/>
                </a:solidFill>
              </a:rPr>
              <a:t>Presentation footer 10PT grey. Please add the relevant country to the footer.</a:t>
            </a:r>
            <a:endParaRPr lang="en-GB" sz="1867" dirty="0">
              <a:solidFill>
                <a:prstClr val="black"/>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pPr/>
              <a:t>‹N›</a:t>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685801" y="826289"/>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83664941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xmlns:p14="http://schemas.microsoft.com/office/powerpoint/2010/mai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80" y="1692000"/>
            <a:ext cx="8939881" cy="4284000"/>
          </a:xfrm>
          <a:prstGeom prst="rect">
            <a:avLst/>
          </a:prstGeom>
        </p:spPr>
        <p:txBody>
          <a:bodyPr tIns="0">
            <a:noAutofit/>
          </a:bodyPr>
          <a:lstStyle>
            <a:lvl1pPr marL="0" indent="0" algn="l" rtl="0" eaLnBrk="0" fontAlgn="base" hangingPunct="0">
              <a:lnSpc>
                <a:spcPts val="9600"/>
              </a:lnSpc>
              <a:spcBef>
                <a:spcPct val="20000"/>
              </a:spcBef>
              <a:spcAft>
                <a:spcPct val="0"/>
              </a:spcAft>
              <a:buFont typeface="Arial" charset="0"/>
              <a:buNone/>
              <a:defRPr lang="it-IT" sz="8000" b="1" kern="1200" baseline="0" dirty="0">
                <a:solidFill>
                  <a:srgbClr val="00B140"/>
                </a:solidFill>
                <a:latin typeface="+mn-lt"/>
                <a:ea typeface="+mn-ea"/>
                <a:cs typeface="+mn-cs"/>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it-IT" dirty="0"/>
              <a:t>Divider </a:t>
            </a:r>
            <a:r>
              <a:rPr lang="it-IT" dirty="0" err="1"/>
              <a:t>page</a:t>
            </a:r>
            <a:r>
              <a:rPr lang="it-IT" dirty="0"/>
              <a:t> </a:t>
            </a:r>
            <a:r>
              <a:rPr lang="it-IT" dirty="0" err="1"/>
              <a:t>title</a:t>
            </a:r>
            <a:endParaRPr lang="it-IT" dirty="0"/>
          </a:p>
        </p:txBody>
      </p:sp>
      <p:sp>
        <p:nvSpPr>
          <p:cNvPr id="4" name="Segnaposto numero diapositiva 6"/>
          <p:cNvSpPr>
            <a:spLocks noGrp="1"/>
          </p:cNvSpPr>
          <p:nvPr>
            <p:ph type="sldNum" sz="quarter" idx="12"/>
          </p:nvPr>
        </p:nvSpPr>
        <p:spPr>
          <a:xfrm>
            <a:off x="11362873" y="6356352"/>
            <a:ext cx="685801" cy="365125"/>
          </a:xfrm>
        </p:spPr>
        <p:txBody>
          <a:bodyPr/>
          <a:lstStyle>
            <a:lvl1pPr algn="r">
              <a:defRPr sz="1200">
                <a:solidFill>
                  <a:srgbClr val="A8A9AD"/>
                </a:solidFill>
              </a:defRPr>
            </a:lvl1pPr>
          </a:lstStyle>
          <a:p>
            <a:pPr>
              <a:defRPr/>
            </a:pPr>
            <a:fld id="{BE0B9A1A-85C1-4544-80DF-DF1ED4AB266B}" type="slidenum">
              <a:rPr lang="it-IT" smtClean="0"/>
              <a:pPr>
                <a:defRPr/>
              </a:pPr>
              <a:t>‹N›</a:t>
            </a:fld>
            <a:endParaRPr lang="it-IT"/>
          </a:p>
        </p:txBody>
      </p:sp>
    </p:spTree>
    <p:extLst>
      <p:ext uri="{BB962C8B-B14F-4D97-AF65-F5344CB8AC3E}">
        <p14:creationId xmlns:p14="http://schemas.microsoft.com/office/powerpoint/2010/main" val="34838339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_Diapositiva titolo">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907033" y="213739"/>
            <a:ext cx="1932039" cy="963659"/>
          </a:xfrm>
          <a:prstGeom prst="rect">
            <a:avLst/>
          </a:prstGeom>
          <a:noFill/>
        </p:spPr>
      </p:pic>
    </p:spTree>
    <p:extLst>
      <p:ext uri="{BB962C8B-B14F-4D97-AF65-F5344CB8AC3E}">
        <p14:creationId xmlns:p14="http://schemas.microsoft.com/office/powerpoint/2010/main" val="2126591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1"/>
            </p:custData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7" name="Oggetto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87570" y="401112"/>
            <a:ext cx="8375651" cy="394980"/>
          </a:xfrm>
        </p:spPr>
        <p:txBody>
          <a:bodyPr/>
          <a:lstStyle/>
          <a:p>
            <a:r>
              <a:rPr lang="it-IT" dirty="0"/>
              <a:t>Fare clic per modificare lo stile del titolo</a:t>
            </a:r>
            <a:endParaRPr lang="en-GB" dirty="0"/>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Text Placeholder 7"/>
          <p:cNvSpPr>
            <a:spLocks noGrp="1"/>
          </p:cNvSpPr>
          <p:nvPr>
            <p:ph type="body" sz="quarter" idx="13" hasCustomPrompt="1"/>
          </p:nvPr>
        </p:nvSpPr>
        <p:spPr>
          <a:xfrm>
            <a:off x="676941" y="837630"/>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
        <p:nvSpPr>
          <p:cNvPr id="9" name="Segnaposto numero diapositiva 3"/>
          <p:cNvSpPr>
            <a:spLocks noGrp="1"/>
          </p:cNvSpPr>
          <p:nvPr userDrawn="1">
            <p:ph type="sldNum" sz="quarter" idx="12"/>
          </p:nvPr>
        </p:nvSpPr>
        <p:spPr>
          <a:xfrm>
            <a:off x="10664824" y="6559667"/>
            <a:ext cx="762000" cy="153888"/>
          </a:xfrm>
        </p:spPr>
        <p:txBody>
          <a:bodyPr/>
          <a:lstStyle/>
          <a:p>
            <a:fld id="{1ED2235E-0982-3B42-A838-A74550CD4449}" type="slidenum">
              <a:rPr lang="en-GB" smtClean="0">
                <a:solidFill>
                  <a:srgbClr val="C6C6C6">
                    <a:lumMod val="75000"/>
                  </a:srgbClr>
                </a:solidFill>
              </a:rPr>
              <a:pPr/>
              <a:t>‹N›</a:t>
            </a:fld>
            <a:endParaRPr lang="en-GB" dirty="0">
              <a:solidFill>
                <a:srgbClr val="C6C6C6">
                  <a:lumMod val="75000"/>
                </a:srgbClr>
              </a:solidFill>
            </a:endParaRPr>
          </a:p>
        </p:txBody>
      </p:sp>
    </p:spTree>
    <p:extLst>
      <p:ext uri="{BB962C8B-B14F-4D97-AF65-F5344CB8AC3E}">
        <p14:creationId xmlns:p14="http://schemas.microsoft.com/office/powerpoint/2010/main" val="1189583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are clic per modificare lo stile del titolo</a:t>
            </a:r>
          </a:p>
        </p:txBody>
      </p:sp>
      <p:sp>
        <p:nvSpPr>
          <p:cNvPr id="3" name="Segnaposto numero diapositiva 2"/>
          <p:cNvSpPr>
            <a:spLocks noGrp="1"/>
          </p:cNvSpPr>
          <p:nvPr>
            <p:ph type="sldNum" sz="quarter" idx="10"/>
          </p:nvPr>
        </p:nvSpPr>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Tree>
    <p:extLst>
      <p:ext uri="{BB962C8B-B14F-4D97-AF65-F5344CB8AC3E}">
        <p14:creationId xmlns:p14="http://schemas.microsoft.com/office/powerpoint/2010/main" val="3273997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testazione sezione">
    <p:bg>
      <p:bgPr>
        <a:solidFill>
          <a:schemeClr val="accent6"/>
        </a:solidFill>
        <a:effectLst/>
      </p:bgPr>
    </p:bg>
    <p:spTree>
      <p:nvGrpSpPr>
        <p:cNvPr id="1" name=""/>
        <p:cNvGrpSpPr/>
        <p:nvPr/>
      </p:nvGrpSpPr>
      <p:grpSpPr>
        <a:xfrm>
          <a:off x="0" y="0"/>
          <a:ext cx="0" cy="0"/>
          <a:chOff x="0" y="0"/>
          <a:chExt cx="0" cy="0"/>
        </a:xfrm>
      </p:grpSpPr>
      <p:graphicFrame>
        <p:nvGraphicFramePr>
          <p:cNvPr id="15" name="Oggetto 14" hidden="1"/>
          <p:cNvGraphicFramePr>
            <a:graphicFrameLocks noChangeAspect="1"/>
          </p:cNvGraphicFramePr>
          <p:nvPr>
            <p:custDataLst>
              <p:tags r:id="rId1"/>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15" name="Oggetto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pPr/>
              <a:t>‹N›</a:t>
            </a:fld>
            <a:endParaRPr lang="en-GB" dirty="0">
              <a:solidFill>
                <a:prstClr val="white"/>
              </a:solidFill>
            </a:endParaRPr>
          </a:p>
        </p:txBody>
      </p:sp>
      <p:sp>
        <p:nvSpPr>
          <p:cNvPr id="14" name="Title 9"/>
          <p:cNvSpPr>
            <a:spLocks noGrp="1"/>
          </p:cNvSpPr>
          <p:nvPr>
            <p:ph type="title" hasCustomPrompt="1"/>
          </p:nvPr>
        </p:nvSpPr>
        <p:spPr>
          <a:xfrm>
            <a:off x="2082309" y="615088"/>
            <a:ext cx="5534519" cy="3495811"/>
          </a:xfrm>
        </p:spPr>
        <p:txBody>
          <a:bodyPr>
            <a:noAutofit/>
          </a:bodyPr>
          <a:lstStyle>
            <a:lvl1pPr>
              <a:defRPr sz="4800">
                <a:solidFill>
                  <a:schemeClr val="bg1"/>
                </a:solidFill>
              </a:defRPr>
            </a:lvl1pPr>
          </a:lstStyle>
          <a:p>
            <a:r>
              <a:rPr lang="en-GB" dirty="0"/>
              <a:t>Click to edit </a:t>
            </a:r>
            <a:br>
              <a:rPr lang="en-GB" dirty="0"/>
            </a:br>
            <a:r>
              <a:rPr lang="en-GB" dirty="0"/>
              <a:t>Master title style</a:t>
            </a:r>
          </a:p>
        </p:txBody>
      </p:sp>
      <p:grpSp>
        <p:nvGrpSpPr>
          <p:cNvPr id="6" name="Group 1"/>
          <p:cNvGrpSpPr/>
          <p:nvPr userDrawn="1"/>
        </p:nvGrpSpPr>
        <p:grpSpPr>
          <a:xfrm>
            <a:off x="1013885" y="920773"/>
            <a:ext cx="570224" cy="2736827"/>
            <a:chOff x="760413" y="690580"/>
            <a:chExt cx="544156" cy="2611716"/>
          </a:xfrm>
        </p:grpSpPr>
        <p:sp>
          <p:nvSpPr>
            <p:cNvPr id="7"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defTabSz="914354"/>
              <a:endParaRPr lang="en-GB" sz="1867">
                <a:solidFill>
                  <a:srgbClr val="0655FA"/>
                </a:solidFill>
              </a:endParaRPr>
            </a:p>
          </p:txBody>
        </p:sp>
        <p:sp>
          <p:nvSpPr>
            <p:cNvPr id="9"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prstTxWarp prst="textNoShape">
                <a:avLst/>
              </a:prstTxWarp>
            </a:bodyPr>
            <a:lstStyle/>
            <a:p>
              <a:pPr defTabSz="914354"/>
              <a:endParaRPr lang="en-GB" sz="1867">
                <a:solidFill>
                  <a:prstClr val="black"/>
                </a:solidFill>
              </a:endParaRPr>
            </a:p>
          </p:txBody>
        </p:sp>
      </p:grpSp>
      <p:grpSp>
        <p:nvGrpSpPr>
          <p:cNvPr id="12" name="Group 5"/>
          <p:cNvGrpSpPr>
            <a:grpSpLocks noChangeAspect="1"/>
          </p:cNvGrpSpPr>
          <p:nvPr userDrawn="1"/>
        </p:nvGrpSpPr>
        <p:grpSpPr bwMode="auto">
          <a:xfrm>
            <a:off x="10058345" y="626583"/>
            <a:ext cx="1341112" cy="672000"/>
            <a:chOff x="-3449" y="-1785"/>
            <a:chExt cx="6959" cy="3487"/>
          </a:xfrm>
          <a:solidFill>
            <a:schemeClr val="bg1"/>
          </a:solidFill>
        </p:grpSpPr>
        <p:sp>
          <p:nvSpPr>
            <p:cNvPr id="19" name="Freeform 6"/>
            <p:cNvSpPr>
              <a:spLocks/>
            </p:cNvSpPr>
            <p:nvPr userDrawn="1"/>
          </p:nvSpPr>
          <p:spPr bwMode="auto">
            <a:xfrm>
              <a:off x="-12" y="1270"/>
              <a:ext cx="319" cy="432"/>
            </a:xfrm>
            <a:custGeom>
              <a:avLst/>
              <a:gdLst/>
              <a:ahLst/>
              <a:cxnLst>
                <a:cxn ang="0">
                  <a:pos x="45" y="30"/>
                </a:cxn>
                <a:cxn ang="0">
                  <a:pos x="45" y="57"/>
                </a:cxn>
                <a:cxn ang="0">
                  <a:pos x="25" y="61"/>
                </a:cxn>
                <a:cxn ang="0">
                  <a:pos x="0" y="30"/>
                </a:cxn>
                <a:cxn ang="0">
                  <a:pos x="25" y="0"/>
                </a:cxn>
                <a:cxn ang="0">
                  <a:pos x="45" y="16"/>
                </a:cxn>
                <a:cxn ang="0">
                  <a:pos x="39" y="16"/>
                </a:cxn>
                <a:cxn ang="0">
                  <a:pos x="25" y="5"/>
                </a:cxn>
                <a:cxn ang="0">
                  <a:pos x="5" y="30"/>
                </a:cxn>
                <a:cxn ang="0">
                  <a:pos x="27" y="56"/>
                </a:cxn>
                <a:cxn ang="0">
                  <a:pos x="40" y="53"/>
                </a:cxn>
                <a:cxn ang="0">
                  <a:pos x="40" y="35"/>
                </a:cxn>
                <a:cxn ang="0">
                  <a:pos x="26" y="35"/>
                </a:cxn>
                <a:cxn ang="0">
                  <a:pos x="26" y="30"/>
                </a:cxn>
                <a:cxn ang="0">
                  <a:pos x="45" y="30"/>
                </a:cxn>
              </a:cxnLst>
              <a:rect l="0" t="0" r="r" b="b"/>
              <a:pathLst>
                <a:path w="45" h="61">
                  <a:moveTo>
                    <a:pt x="45" y="30"/>
                  </a:moveTo>
                  <a:cubicBezTo>
                    <a:pt x="45" y="57"/>
                    <a:pt x="45" y="57"/>
                    <a:pt x="45" y="57"/>
                  </a:cubicBezTo>
                  <a:cubicBezTo>
                    <a:pt x="38" y="60"/>
                    <a:pt x="32" y="61"/>
                    <a:pt x="25" y="61"/>
                  </a:cubicBezTo>
                  <a:cubicBezTo>
                    <a:pt x="9" y="61"/>
                    <a:pt x="0" y="48"/>
                    <a:pt x="0" y="30"/>
                  </a:cubicBezTo>
                  <a:cubicBezTo>
                    <a:pt x="0" y="15"/>
                    <a:pt x="8" y="0"/>
                    <a:pt x="25" y="0"/>
                  </a:cubicBezTo>
                  <a:cubicBezTo>
                    <a:pt x="34" y="0"/>
                    <a:pt x="44" y="5"/>
                    <a:pt x="45" y="16"/>
                  </a:cubicBezTo>
                  <a:cubicBezTo>
                    <a:pt x="39" y="16"/>
                    <a:pt x="39" y="16"/>
                    <a:pt x="39" y="16"/>
                  </a:cubicBezTo>
                  <a:cubicBezTo>
                    <a:pt x="38" y="8"/>
                    <a:pt x="32" y="5"/>
                    <a:pt x="25" y="5"/>
                  </a:cubicBezTo>
                  <a:cubicBezTo>
                    <a:pt x="11" y="5"/>
                    <a:pt x="5" y="18"/>
                    <a:pt x="5" y="30"/>
                  </a:cubicBezTo>
                  <a:cubicBezTo>
                    <a:pt x="5" y="45"/>
                    <a:pt x="12" y="56"/>
                    <a:pt x="27" y="56"/>
                  </a:cubicBezTo>
                  <a:cubicBezTo>
                    <a:pt x="32" y="56"/>
                    <a:pt x="36" y="55"/>
                    <a:pt x="40" y="53"/>
                  </a:cubicBezTo>
                  <a:cubicBezTo>
                    <a:pt x="40" y="35"/>
                    <a:pt x="40" y="35"/>
                    <a:pt x="40" y="35"/>
                  </a:cubicBezTo>
                  <a:cubicBezTo>
                    <a:pt x="26" y="35"/>
                    <a:pt x="26" y="35"/>
                    <a:pt x="26" y="35"/>
                  </a:cubicBezTo>
                  <a:cubicBezTo>
                    <a:pt x="26" y="30"/>
                    <a:pt x="26" y="30"/>
                    <a:pt x="26" y="30"/>
                  </a:cubicBezTo>
                  <a:lnTo>
                    <a:pt x="45" y="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0" name="Freeform 7"/>
            <p:cNvSpPr>
              <a:spLocks/>
            </p:cNvSpPr>
            <p:nvPr userDrawn="1"/>
          </p:nvSpPr>
          <p:spPr bwMode="auto">
            <a:xfrm>
              <a:off x="406" y="1397"/>
              <a:ext cx="135" cy="291"/>
            </a:xfrm>
            <a:custGeom>
              <a:avLst/>
              <a:gdLst/>
              <a:ahLst/>
              <a:cxnLst>
                <a:cxn ang="0">
                  <a:pos x="5" y="41"/>
                </a:cxn>
                <a:cxn ang="0">
                  <a:pos x="0" y="41"/>
                </a:cxn>
                <a:cxn ang="0">
                  <a:pos x="0" y="10"/>
                </a:cxn>
                <a:cxn ang="0">
                  <a:pos x="0" y="1"/>
                </a:cxn>
                <a:cxn ang="0">
                  <a:pos x="5" y="1"/>
                </a:cxn>
                <a:cxn ang="0">
                  <a:pos x="5" y="7"/>
                </a:cxn>
                <a:cxn ang="0">
                  <a:pos x="5" y="7"/>
                </a:cxn>
                <a:cxn ang="0">
                  <a:pos x="14" y="0"/>
                </a:cxn>
                <a:cxn ang="0">
                  <a:pos x="19" y="0"/>
                </a:cxn>
                <a:cxn ang="0">
                  <a:pos x="19" y="5"/>
                </a:cxn>
                <a:cxn ang="0">
                  <a:pos x="16" y="4"/>
                </a:cxn>
                <a:cxn ang="0">
                  <a:pos x="5" y="17"/>
                </a:cxn>
                <a:cxn ang="0">
                  <a:pos x="5" y="41"/>
                </a:cxn>
              </a:cxnLst>
              <a:rect l="0" t="0" r="r" b="b"/>
              <a:pathLst>
                <a:path w="19" h="41">
                  <a:moveTo>
                    <a:pt x="5" y="41"/>
                  </a:moveTo>
                  <a:cubicBezTo>
                    <a:pt x="0" y="41"/>
                    <a:pt x="0" y="41"/>
                    <a:pt x="0" y="41"/>
                  </a:cubicBezTo>
                  <a:cubicBezTo>
                    <a:pt x="0" y="10"/>
                    <a:pt x="0" y="10"/>
                    <a:pt x="0" y="10"/>
                  </a:cubicBezTo>
                  <a:cubicBezTo>
                    <a:pt x="0" y="7"/>
                    <a:pt x="0" y="4"/>
                    <a:pt x="0" y="1"/>
                  </a:cubicBezTo>
                  <a:cubicBezTo>
                    <a:pt x="5" y="1"/>
                    <a:pt x="5" y="1"/>
                    <a:pt x="5" y="1"/>
                  </a:cubicBezTo>
                  <a:cubicBezTo>
                    <a:pt x="5" y="7"/>
                    <a:pt x="5" y="7"/>
                    <a:pt x="5" y="7"/>
                  </a:cubicBezTo>
                  <a:cubicBezTo>
                    <a:pt x="5" y="7"/>
                    <a:pt x="5" y="7"/>
                    <a:pt x="5" y="7"/>
                  </a:cubicBezTo>
                  <a:cubicBezTo>
                    <a:pt x="7" y="3"/>
                    <a:pt x="10" y="0"/>
                    <a:pt x="14" y="0"/>
                  </a:cubicBezTo>
                  <a:cubicBezTo>
                    <a:pt x="16" y="0"/>
                    <a:pt x="18" y="0"/>
                    <a:pt x="19" y="0"/>
                  </a:cubicBezTo>
                  <a:cubicBezTo>
                    <a:pt x="19" y="5"/>
                    <a:pt x="19" y="5"/>
                    <a:pt x="19" y="5"/>
                  </a:cubicBezTo>
                  <a:cubicBezTo>
                    <a:pt x="18" y="5"/>
                    <a:pt x="17" y="4"/>
                    <a:pt x="16" y="4"/>
                  </a:cubicBezTo>
                  <a:cubicBezTo>
                    <a:pt x="9" y="4"/>
                    <a:pt x="5" y="9"/>
                    <a:pt x="5" y="17"/>
                  </a:cubicBezTo>
                  <a:lnTo>
                    <a:pt x="5"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1" name="Freeform 8"/>
            <p:cNvSpPr>
              <a:spLocks noEditPoints="1"/>
            </p:cNvSpPr>
            <p:nvPr userDrawn="1"/>
          </p:nvSpPr>
          <p:spPr bwMode="auto">
            <a:xfrm>
              <a:off x="583" y="1397"/>
              <a:ext cx="255" cy="305"/>
            </a:xfrm>
            <a:custGeom>
              <a:avLst/>
              <a:gdLst/>
              <a:ahLst/>
              <a:cxnLst>
                <a:cxn ang="0">
                  <a:pos x="5" y="22"/>
                </a:cxn>
                <a:cxn ang="0">
                  <a:pos x="19" y="38"/>
                </a:cxn>
                <a:cxn ang="0">
                  <a:pos x="30" y="29"/>
                </a:cxn>
                <a:cxn ang="0">
                  <a:pos x="36" y="29"/>
                </a:cxn>
                <a:cxn ang="0">
                  <a:pos x="17" y="43"/>
                </a:cxn>
                <a:cxn ang="0">
                  <a:pos x="0" y="21"/>
                </a:cxn>
                <a:cxn ang="0">
                  <a:pos x="18" y="0"/>
                </a:cxn>
                <a:cxn ang="0">
                  <a:pos x="36" y="22"/>
                </a:cxn>
                <a:cxn ang="0">
                  <a:pos x="5" y="22"/>
                </a:cxn>
                <a:cxn ang="0">
                  <a:pos x="31" y="18"/>
                </a:cxn>
                <a:cxn ang="0">
                  <a:pos x="18" y="4"/>
                </a:cxn>
                <a:cxn ang="0">
                  <a:pos x="5" y="18"/>
                </a:cxn>
                <a:cxn ang="0">
                  <a:pos x="31" y="18"/>
                </a:cxn>
              </a:cxnLst>
              <a:rect l="0" t="0" r="r" b="b"/>
              <a:pathLst>
                <a:path w="36" h="43">
                  <a:moveTo>
                    <a:pt x="5" y="22"/>
                  </a:moveTo>
                  <a:cubicBezTo>
                    <a:pt x="5" y="31"/>
                    <a:pt x="9" y="38"/>
                    <a:pt x="19" y="38"/>
                  </a:cubicBezTo>
                  <a:cubicBezTo>
                    <a:pt x="25" y="38"/>
                    <a:pt x="29" y="34"/>
                    <a:pt x="30" y="29"/>
                  </a:cubicBezTo>
                  <a:cubicBezTo>
                    <a:pt x="36" y="29"/>
                    <a:pt x="36" y="29"/>
                    <a:pt x="36" y="29"/>
                  </a:cubicBezTo>
                  <a:cubicBezTo>
                    <a:pt x="33" y="38"/>
                    <a:pt x="27" y="43"/>
                    <a:pt x="17" y="43"/>
                  </a:cubicBezTo>
                  <a:cubicBezTo>
                    <a:pt x="5" y="43"/>
                    <a:pt x="0" y="32"/>
                    <a:pt x="0" y="21"/>
                  </a:cubicBezTo>
                  <a:cubicBezTo>
                    <a:pt x="0" y="10"/>
                    <a:pt x="6" y="0"/>
                    <a:pt x="18" y="0"/>
                  </a:cubicBezTo>
                  <a:cubicBezTo>
                    <a:pt x="31" y="0"/>
                    <a:pt x="36" y="10"/>
                    <a:pt x="36" y="22"/>
                  </a:cubicBezTo>
                  <a:lnTo>
                    <a:pt x="5" y="22"/>
                  </a:lnTo>
                  <a:close/>
                  <a:moveTo>
                    <a:pt x="31" y="18"/>
                  </a:moveTo>
                  <a:cubicBezTo>
                    <a:pt x="30" y="10"/>
                    <a:pt x="26" y="4"/>
                    <a:pt x="18" y="4"/>
                  </a:cubicBezTo>
                  <a:cubicBezTo>
                    <a:pt x="10" y="4"/>
                    <a:pt x="6" y="11"/>
                    <a:pt x="5" y="18"/>
                  </a:cubicBezTo>
                  <a:lnTo>
                    <a:pt x="31"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2" name="Freeform 9"/>
            <p:cNvSpPr>
              <a:spLocks noEditPoints="1"/>
            </p:cNvSpPr>
            <p:nvPr userDrawn="1"/>
          </p:nvSpPr>
          <p:spPr bwMode="auto">
            <a:xfrm>
              <a:off x="895" y="1397"/>
              <a:ext cx="262" cy="305"/>
            </a:xfrm>
            <a:custGeom>
              <a:avLst/>
              <a:gdLst/>
              <a:ahLst/>
              <a:cxnLst>
                <a:cxn ang="0">
                  <a:pos x="6" y="22"/>
                </a:cxn>
                <a:cxn ang="0">
                  <a:pos x="20" y="38"/>
                </a:cxn>
                <a:cxn ang="0">
                  <a:pos x="31" y="29"/>
                </a:cxn>
                <a:cxn ang="0">
                  <a:pos x="36" y="29"/>
                </a:cxn>
                <a:cxn ang="0">
                  <a:pos x="18" y="43"/>
                </a:cxn>
                <a:cxn ang="0">
                  <a:pos x="0" y="21"/>
                </a:cxn>
                <a:cxn ang="0">
                  <a:pos x="18" y="0"/>
                </a:cxn>
                <a:cxn ang="0">
                  <a:pos x="37" y="22"/>
                </a:cxn>
                <a:cxn ang="0">
                  <a:pos x="6" y="22"/>
                </a:cxn>
                <a:cxn ang="0">
                  <a:pos x="32" y="18"/>
                </a:cxn>
                <a:cxn ang="0">
                  <a:pos x="18" y="4"/>
                </a:cxn>
                <a:cxn ang="0">
                  <a:pos x="6" y="18"/>
                </a:cxn>
                <a:cxn ang="0">
                  <a:pos x="32" y="18"/>
                </a:cxn>
              </a:cxnLst>
              <a:rect l="0" t="0" r="r" b="b"/>
              <a:pathLst>
                <a:path w="37" h="43">
                  <a:moveTo>
                    <a:pt x="6" y="22"/>
                  </a:moveTo>
                  <a:cubicBezTo>
                    <a:pt x="6" y="31"/>
                    <a:pt x="10" y="38"/>
                    <a:pt x="20" y="38"/>
                  </a:cubicBezTo>
                  <a:cubicBezTo>
                    <a:pt x="25" y="38"/>
                    <a:pt x="30" y="34"/>
                    <a:pt x="31" y="29"/>
                  </a:cubicBezTo>
                  <a:cubicBezTo>
                    <a:pt x="36" y="29"/>
                    <a:pt x="36" y="29"/>
                    <a:pt x="36" y="29"/>
                  </a:cubicBezTo>
                  <a:cubicBezTo>
                    <a:pt x="34" y="38"/>
                    <a:pt x="28" y="43"/>
                    <a:pt x="18" y="43"/>
                  </a:cubicBezTo>
                  <a:cubicBezTo>
                    <a:pt x="6" y="43"/>
                    <a:pt x="0" y="32"/>
                    <a:pt x="0" y="21"/>
                  </a:cubicBezTo>
                  <a:cubicBezTo>
                    <a:pt x="0" y="10"/>
                    <a:pt x="6" y="0"/>
                    <a:pt x="18" y="0"/>
                  </a:cubicBezTo>
                  <a:cubicBezTo>
                    <a:pt x="32" y="0"/>
                    <a:pt x="37" y="10"/>
                    <a:pt x="37" y="22"/>
                  </a:cubicBezTo>
                  <a:lnTo>
                    <a:pt x="6" y="22"/>
                  </a:lnTo>
                  <a:close/>
                  <a:moveTo>
                    <a:pt x="32" y="18"/>
                  </a:moveTo>
                  <a:cubicBezTo>
                    <a:pt x="31" y="10"/>
                    <a:pt x="27" y="4"/>
                    <a:pt x="18" y="4"/>
                  </a:cubicBezTo>
                  <a:cubicBezTo>
                    <a:pt x="11" y="4"/>
                    <a:pt x="6" y="11"/>
                    <a:pt x="6" y="18"/>
                  </a:cubicBezTo>
                  <a:lnTo>
                    <a:pt x="3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3" name="Freeform 10"/>
            <p:cNvSpPr>
              <a:spLocks/>
            </p:cNvSpPr>
            <p:nvPr userDrawn="1"/>
          </p:nvSpPr>
          <p:spPr bwMode="auto">
            <a:xfrm>
              <a:off x="1228" y="1397"/>
              <a:ext cx="227" cy="291"/>
            </a:xfrm>
            <a:custGeom>
              <a:avLst/>
              <a:gdLst/>
              <a:ahLst/>
              <a:cxnLst>
                <a:cxn ang="0">
                  <a:pos x="5" y="41"/>
                </a:cxn>
                <a:cxn ang="0">
                  <a:pos x="1" y="41"/>
                </a:cxn>
                <a:cxn ang="0">
                  <a:pos x="1" y="10"/>
                </a:cxn>
                <a:cxn ang="0">
                  <a:pos x="0" y="1"/>
                </a:cxn>
                <a:cxn ang="0">
                  <a:pos x="5" y="1"/>
                </a:cxn>
                <a:cxn ang="0">
                  <a:pos x="5" y="7"/>
                </a:cxn>
                <a:cxn ang="0">
                  <a:pos x="5" y="7"/>
                </a:cxn>
                <a:cxn ang="0">
                  <a:pos x="18" y="0"/>
                </a:cxn>
                <a:cxn ang="0">
                  <a:pos x="32" y="16"/>
                </a:cxn>
                <a:cxn ang="0">
                  <a:pos x="32" y="41"/>
                </a:cxn>
                <a:cxn ang="0">
                  <a:pos x="28" y="41"/>
                </a:cxn>
                <a:cxn ang="0">
                  <a:pos x="28" y="15"/>
                </a:cxn>
                <a:cxn ang="0">
                  <a:pos x="17" y="4"/>
                </a:cxn>
                <a:cxn ang="0">
                  <a:pos x="5" y="18"/>
                </a:cxn>
                <a:cxn ang="0">
                  <a:pos x="5" y="41"/>
                </a:cxn>
              </a:cxnLst>
              <a:rect l="0" t="0" r="r" b="b"/>
              <a:pathLst>
                <a:path w="32" h="41">
                  <a:moveTo>
                    <a:pt x="5" y="41"/>
                  </a:moveTo>
                  <a:cubicBezTo>
                    <a:pt x="1" y="41"/>
                    <a:pt x="1" y="41"/>
                    <a:pt x="1" y="41"/>
                  </a:cubicBezTo>
                  <a:cubicBezTo>
                    <a:pt x="1" y="10"/>
                    <a:pt x="1" y="10"/>
                    <a:pt x="1" y="10"/>
                  </a:cubicBezTo>
                  <a:cubicBezTo>
                    <a:pt x="1" y="7"/>
                    <a:pt x="0" y="4"/>
                    <a:pt x="0" y="1"/>
                  </a:cubicBezTo>
                  <a:cubicBezTo>
                    <a:pt x="5" y="1"/>
                    <a:pt x="5" y="1"/>
                    <a:pt x="5" y="1"/>
                  </a:cubicBezTo>
                  <a:cubicBezTo>
                    <a:pt x="5" y="7"/>
                    <a:pt x="5" y="7"/>
                    <a:pt x="5" y="7"/>
                  </a:cubicBezTo>
                  <a:cubicBezTo>
                    <a:pt x="5" y="7"/>
                    <a:pt x="5" y="7"/>
                    <a:pt x="5" y="7"/>
                  </a:cubicBezTo>
                  <a:cubicBezTo>
                    <a:pt x="8" y="2"/>
                    <a:pt x="13" y="0"/>
                    <a:pt x="18" y="0"/>
                  </a:cubicBezTo>
                  <a:cubicBezTo>
                    <a:pt x="31" y="0"/>
                    <a:pt x="32" y="12"/>
                    <a:pt x="32" y="16"/>
                  </a:cubicBezTo>
                  <a:cubicBezTo>
                    <a:pt x="32" y="41"/>
                    <a:pt x="32" y="41"/>
                    <a:pt x="32" y="41"/>
                  </a:cubicBezTo>
                  <a:cubicBezTo>
                    <a:pt x="28" y="41"/>
                    <a:pt x="28" y="41"/>
                    <a:pt x="28" y="41"/>
                  </a:cubicBezTo>
                  <a:cubicBezTo>
                    <a:pt x="28" y="15"/>
                    <a:pt x="28" y="15"/>
                    <a:pt x="28" y="15"/>
                  </a:cubicBezTo>
                  <a:cubicBezTo>
                    <a:pt x="28" y="8"/>
                    <a:pt x="24" y="4"/>
                    <a:pt x="17" y="4"/>
                  </a:cubicBezTo>
                  <a:cubicBezTo>
                    <a:pt x="9" y="4"/>
                    <a:pt x="5" y="11"/>
                    <a:pt x="5" y="18"/>
                  </a:cubicBezTo>
                  <a:lnTo>
                    <a:pt x="5"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4" name="Freeform 11"/>
            <p:cNvSpPr>
              <a:spLocks noEditPoints="1"/>
            </p:cNvSpPr>
            <p:nvPr userDrawn="1"/>
          </p:nvSpPr>
          <p:spPr bwMode="auto">
            <a:xfrm>
              <a:off x="1717" y="1277"/>
              <a:ext cx="276" cy="411"/>
            </a:xfrm>
            <a:custGeom>
              <a:avLst/>
              <a:gdLst/>
              <a:ahLst/>
              <a:cxnLst>
                <a:cxn ang="0">
                  <a:pos x="0" y="58"/>
                </a:cxn>
                <a:cxn ang="0">
                  <a:pos x="0" y="0"/>
                </a:cxn>
                <a:cxn ang="0">
                  <a:pos x="15" y="0"/>
                </a:cxn>
                <a:cxn ang="0">
                  <a:pos x="39" y="17"/>
                </a:cxn>
                <a:cxn ang="0">
                  <a:pos x="15" y="33"/>
                </a:cxn>
                <a:cxn ang="0">
                  <a:pos x="5" y="33"/>
                </a:cxn>
                <a:cxn ang="0">
                  <a:pos x="5" y="58"/>
                </a:cxn>
                <a:cxn ang="0">
                  <a:pos x="0" y="58"/>
                </a:cxn>
                <a:cxn ang="0">
                  <a:pos x="5" y="28"/>
                </a:cxn>
                <a:cxn ang="0">
                  <a:pos x="18" y="28"/>
                </a:cxn>
                <a:cxn ang="0">
                  <a:pos x="33" y="17"/>
                </a:cxn>
                <a:cxn ang="0">
                  <a:pos x="18" y="5"/>
                </a:cxn>
                <a:cxn ang="0">
                  <a:pos x="5" y="5"/>
                </a:cxn>
                <a:cxn ang="0">
                  <a:pos x="5" y="28"/>
                </a:cxn>
              </a:cxnLst>
              <a:rect l="0" t="0" r="r" b="b"/>
              <a:pathLst>
                <a:path w="39" h="58">
                  <a:moveTo>
                    <a:pt x="0" y="58"/>
                  </a:moveTo>
                  <a:cubicBezTo>
                    <a:pt x="0" y="0"/>
                    <a:pt x="0" y="0"/>
                    <a:pt x="0" y="0"/>
                  </a:cubicBezTo>
                  <a:cubicBezTo>
                    <a:pt x="15" y="0"/>
                    <a:pt x="15" y="0"/>
                    <a:pt x="15" y="0"/>
                  </a:cubicBezTo>
                  <a:cubicBezTo>
                    <a:pt x="26" y="0"/>
                    <a:pt x="39" y="3"/>
                    <a:pt x="39" y="17"/>
                  </a:cubicBezTo>
                  <a:cubicBezTo>
                    <a:pt x="39" y="31"/>
                    <a:pt x="26" y="33"/>
                    <a:pt x="15" y="33"/>
                  </a:cubicBezTo>
                  <a:cubicBezTo>
                    <a:pt x="5" y="33"/>
                    <a:pt x="5" y="33"/>
                    <a:pt x="5" y="33"/>
                  </a:cubicBezTo>
                  <a:cubicBezTo>
                    <a:pt x="5" y="58"/>
                    <a:pt x="5" y="58"/>
                    <a:pt x="5" y="58"/>
                  </a:cubicBezTo>
                  <a:lnTo>
                    <a:pt x="0" y="58"/>
                  </a:lnTo>
                  <a:close/>
                  <a:moveTo>
                    <a:pt x="5" y="28"/>
                  </a:moveTo>
                  <a:cubicBezTo>
                    <a:pt x="18" y="28"/>
                    <a:pt x="18" y="28"/>
                    <a:pt x="18" y="28"/>
                  </a:cubicBezTo>
                  <a:cubicBezTo>
                    <a:pt x="26" y="28"/>
                    <a:pt x="33" y="26"/>
                    <a:pt x="33" y="17"/>
                  </a:cubicBezTo>
                  <a:cubicBezTo>
                    <a:pt x="33" y="8"/>
                    <a:pt x="26" y="5"/>
                    <a:pt x="18" y="5"/>
                  </a:cubicBezTo>
                  <a:cubicBezTo>
                    <a:pt x="5" y="5"/>
                    <a:pt x="5" y="5"/>
                    <a:pt x="5" y="5"/>
                  </a:cubicBezTo>
                  <a:lnTo>
                    <a:pt x="5"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5" name="Freeform 12"/>
            <p:cNvSpPr>
              <a:spLocks noEditPoints="1"/>
            </p:cNvSpPr>
            <p:nvPr userDrawn="1"/>
          </p:nvSpPr>
          <p:spPr bwMode="auto">
            <a:xfrm>
              <a:off x="2001" y="1397"/>
              <a:ext cx="269" cy="305"/>
            </a:xfrm>
            <a:custGeom>
              <a:avLst/>
              <a:gdLst/>
              <a:ahLst/>
              <a:cxnLst>
                <a:cxn ang="0">
                  <a:pos x="38" y="21"/>
                </a:cxn>
                <a:cxn ang="0">
                  <a:pos x="19" y="43"/>
                </a:cxn>
                <a:cxn ang="0">
                  <a:pos x="0" y="21"/>
                </a:cxn>
                <a:cxn ang="0">
                  <a:pos x="19" y="0"/>
                </a:cxn>
                <a:cxn ang="0">
                  <a:pos x="38" y="21"/>
                </a:cxn>
                <a:cxn ang="0">
                  <a:pos x="19" y="4"/>
                </a:cxn>
                <a:cxn ang="0">
                  <a:pos x="6" y="21"/>
                </a:cxn>
                <a:cxn ang="0">
                  <a:pos x="19" y="38"/>
                </a:cxn>
                <a:cxn ang="0">
                  <a:pos x="33" y="21"/>
                </a:cxn>
                <a:cxn ang="0">
                  <a:pos x="19" y="4"/>
                </a:cxn>
              </a:cxnLst>
              <a:rect l="0" t="0" r="r" b="b"/>
              <a:pathLst>
                <a:path w="38" h="43">
                  <a:moveTo>
                    <a:pt x="38" y="21"/>
                  </a:moveTo>
                  <a:cubicBezTo>
                    <a:pt x="38" y="32"/>
                    <a:pt x="32" y="43"/>
                    <a:pt x="19" y="43"/>
                  </a:cubicBezTo>
                  <a:cubicBezTo>
                    <a:pt x="6" y="43"/>
                    <a:pt x="0" y="32"/>
                    <a:pt x="0" y="21"/>
                  </a:cubicBezTo>
                  <a:cubicBezTo>
                    <a:pt x="0" y="11"/>
                    <a:pt x="6" y="0"/>
                    <a:pt x="19" y="0"/>
                  </a:cubicBezTo>
                  <a:cubicBezTo>
                    <a:pt x="32" y="0"/>
                    <a:pt x="38" y="11"/>
                    <a:pt x="38" y="21"/>
                  </a:cubicBezTo>
                  <a:close/>
                  <a:moveTo>
                    <a:pt x="19" y="4"/>
                  </a:moveTo>
                  <a:cubicBezTo>
                    <a:pt x="10" y="4"/>
                    <a:pt x="6" y="14"/>
                    <a:pt x="6" y="21"/>
                  </a:cubicBezTo>
                  <a:cubicBezTo>
                    <a:pt x="6" y="29"/>
                    <a:pt x="10" y="38"/>
                    <a:pt x="19" y="38"/>
                  </a:cubicBezTo>
                  <a:cubicBezTo>
                    <a:pt x="29" y="38"/>
                    <a:pt x="33" y="29"/>
                    <a:pt x="33" y="21"/>
                  </a:cubicBezTo>
                  <a:cubicBezTo>
                    <a:pt x="33" y="14"/>
                    <a:pt x="29" y="4"/>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6" name="Freeform 13"/>
            <p:cNvSpPr>
              <a:spLocks/>
            </p:cNvSpPr>
            <p:nvPr userDrawn="1"/>
          </p:nvSpPr>
          <p:spPr bwMode="auto">
            <a:xfrm>
              <a:off x="2291" y="1404"/>
              <a:ext cx="461" cy="284"/>
            </a:xfrm>
            <a:custGeom>
              <a:avLst/>
              <a:gdLst/>
              <a:ahLst/>
              <a:cxnLst>
                <a:cxn ang="0">
                  <a:pos x="128" y="241"/>
                </a:cxn>
                <a:cxn ang="0">
                  <a:pos x="128" y="241"/>
                </a:cxn>
                <a:cxn ang="0">
                  <a:pos x="213" y="0"/>
                </a:cxn>
                <a:cxn ang="0">
                  <a:pos x="255" y="0"/>
                </a:cxn>
                <a:cxn ang="0">
                  <a:pos x="340" y="241"/>
                </a:cxn>
                <a:cxn ang="0">
                  <a:pos x="340" y="241"/>
                </a:cxn>
                <a:cxn ang="0">
                  <a:pos x="425" y="0"/>
                </a:cxn>
                <a:cxn ang="0">
                  <a:pos x="461" y="0"/>
                </a:cxn>
                <a:cxn ang="0">
                  <a:pos x="354" y="284"/>
                </a:cxn>
                <a:cxn ang="0">
                  <a:pos x="319" y="284"/>
                </a:cxn>
                <a:cxn ang="0">
                  <a:pos x="234" y="43"/>
                </a:cxn>
                <a:cxn ang="0">
                  <a:pos x="234" y="43"/>
                </a:cxn>
                <a:cxn ang="0">
                  <a:pos x="142" y="284"/>
                </a:cxn>
                <a:cxn ang="0">
                  <a:pos x="106" y="284"/>
                </a:cxn>
                <a:cxn ang="0">
                  <a:pos x="0" y="0"/>
                </a:cxn>
                <a:cxn ang="0">
                  <a:pos x="43" y="0"/>
                </a:cxn>
                <a:cxn ang="0">
                  <a:pos x="128" y="241"/>
                </a:cxn>
              </a:cxnLst>
              <a:rect l="0" t="0" r="r" b="b"/>
              <a:pathLst>
                <a:path w="461" h="284">
                  <a:moveTo>
                    <a:pt x="128" y="241"/>
                  </a:moveTo>
                  <a:lnTo>
                    <a:pt x="128" y="241"/>
                  </a:lnTo>
                  <a:lnTo>
                    <a:pt x="213" y="0"/>
                  </a:lnTo>
                  <a:lnTo>
                    <a:pt x="255" y="0"/>
                  </a:lnTo>
                  <a:lnTo>
                    <a:pt x="340" y="241"/>
                  </a:lnTo>
                  <a:lnTo>
                    <a:pt x="340" y="241"/>
                  </a:lnTo>
                  <a:lnTo>
                    <a:pt x="425" y="0"/>
                  </a:lnTo>
                  <a:lnTo>
                    <a:pt x="461" y="0"/>
                  </a:lnTo>
                  <a:lnTo>
                    <a:pt x="354" y="284"/>
                  </a:lnTo>
                  <a:lnTo>
                    <a:pt x="319" y="284"/>
                  </a:lnTo>
                  <a:lnTo>
                    <a:pt x="234" y="43"/>
                  </a:lnTo>
                  <a:lnTo>
                    <a:pt x="234" y="43"/>
                  </a:lnTo>
                  <a:lnTo>
                    <a:pt x="142" y="284"/>
                  </a:lnTo>
                  <a:lnTo>
                    <a:pt x="106" y="284"/>
                  </a:lnTo>
                  <a:lnTo>
                    <a:pt x="0" y="0"/>
                  </a:lnTo>
                  <a:lnTo>
                    <a:pt x="43" y="0"/>
                  </a:lnTo>
                  <a:lnTo>
                    <a:pt x="128" y="2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7" name="Freeform 14"/>
            <p:cNvSpPr>
              <a:spLocks noEditPoints="1"/>
            </p:cNvSpPr>
            <p:nvPr userDrawn="1"/>
          </p:nvSpPr>
          <p:spPr bwMode="auto">
            <a:xfrm>
              <a:off x="2780" y="1397"/>
              <a:ext cx="255" cy="305"/>
            </a:xfrm>
            <a:custGeom>
              <a:avLst/>
              <a:gdLst/>
              <a:ahLst/>
              <a:cxnLst>
                <a:cxn ang="0">
                  <a:pos x="5" y="22"/>
                </a:cxn>
                <a:cxn ang="0">
                  <a:pos x="19" y="38"/>
                </a:cxn>
                <a:cxn ang="0">
                  <a:pos x="30" y="29"/>
                </a:cxn>
                <a:cxn ang="0">
                  <a:pos x="35" y="29"/>
                </a:cxn>
                <a:cxn ang="0">
                  <a:pos x="17" y="43"/>
                </a:cxn>
                <a:cxn ang="0">
                  <a:pos x="0" y="21"/>
                </a:cxn>
                <a:cxn ang="0">
                  <a:pos x="18" y="0"/>
                </a:cxn>
                <a:cxn ang="0">
                  <a:pos x="36" y="22"/>
                </a:cxn>
                <a:cxn ang="0">
                  <a:pos x="5" y="22"/>
                </a:cxn>
                <a:cxn ang="0">
                  <a:pos x="31" y="18"/>
                </a:cxn>
                <a:cxn ang="0">
                  <a:pos x="18" y="4"/>
                </a:cxn>
                <a:cxn ang="0">
                  <a:pos x="5" y="18"/>
                </a:cxn>
                <a:cxn ang="0">
                  <a:pos x="31" y="18"/>
                </a:cxn>
              </a:cxnLst>
              <a:rect l="0" t="0" r="r" b="b"/>
              <a:pathLst>
                <a:path w="36" h="43">
                  <a:moveTo>
                    <a:pt x="5" y="22"/>
                  </a:moveTo>
                  <a:cubicBezTo>
                    <a:pt x="5" y="31"/>
                    <a:pt x="9" y="38"/>
                    <a:pt x="19" y="38"/>
                  </a:cubicBezTo>
                  <a:cubicBezTo>
                    <a:pt x="24" y="38"/>
                    <a:pt x="29" y="34"/>
                    <a:pt x="30" y="29"/>
                  </a:cubicBezTo>
                  <a:cubicBezTo>
                    <a:pt x="35" y="29"/>
                    <a:pt x="35" y="29"/>
                    <a:pt x="35" y="29"/>
                  </a:cubicBezTo>
                  <a:cubicBezTo>
                    <a:pt x="33" y="38"/>
                    <a:pt x="27" y="43"/>
                    <a:pt x="17" y="43"/>
                  </a:cubicBezTo>
                  <a:cubicBezTo>
                    <a:pt x="5" y="43"/>
                    <a:pt x="0" y="32"/>
                    <a:pt x="0" y="21"/>
                  </a:cubicBezTo>
                  <a:cubicBezTo>
                    <a:pt x="0" y="10"/>
                    <a:pt x="6" y="0"/>
                    <a:pt x="18" y="0"/>
                  </a:cubicBezTo>
                  <a:cubicBezTo>
                    <a:pt x="31" y="0"/>
                    <a:pt x="36" y="10"/>
                    <a:pt x="36" y="22"/>
                  </a:cubicBezTo>
                  <a:lnTo>
                    <a:pt x="5" y="22"/>
                  </a:lnTo>
                  <a:close/>
                  <a:moveTo>
                    <a:pt x="31" y="18"/>
                  </a:moveTo>
                  <a:cubicBezTo>
                    <a:pt x="30" y="10"/>
                    <a:pt x="26" y="4"/>
                    <a:pt x="18" y="4"/>
                  </a:cubicBezTo>
                  <a:cubicBezTo>
                    <a:pt x="10" y="4"/>
                    <a:pt x="6" y="11"/>
                    <a:pt x="5" y="18"/>
                  </a:cubicBezTo>
                  <a:lnTo>
                    <a:pt x="31"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8" name="Freeform 15"/>
            <p:cNvSpPr>
              <a:spLocks/>
            </p:cNvSpPr>
            <p:nvPr userDrawn="1"/>
          </p:nvSpPr>
          <p:spPr bwMode="auto">
            <a:xfrm>
              <a:off x="3106" y="1397"/>
              <a:ext cx="142" cy="291"/>
            </a:xfrm>
            <a:custGeom>
              <a:avLst/>
              <a:gdLst/>
              <a:ahLst/>
              <a:cxnLst>
                <a:cxn ang="0">
                  <a:pos x="6" y="41"/>
                </a:cxn>
                <a:cxn ang="0">
                  <a:pos x="1" y="41"/>
                </a:cxn>
                <a:cxn ang="0">
                  <a:pos x="1" y="10"/>
                </a:cxn>
                <a:cxn ang="0">
                  <a:pos x="0" y="1"/>
                </a:cxn>
                <a:cxn ang="0">
                  <a:pos x="5" y="1"/>
                </a:cxn>
                <a:cxn ang="0">
                  <a:pos x="6" y="7"/>
                </a:cxn>
                <a:cxn ang="0">
                  <a:pos x="6" y="7"/>
                </a:cxn>
                <a:cxn ang="0">
                  <a:pos x="15" y="0"/>
                </a:cxn>
                <a:cxn ang="0">
                  <a:pos x="20" y="0"/>
                </a:cxn>
                <a:cxn ang="0">
                  <a:pos x="20" y="5"/>
                </a:cxn>
                <a:cxn ang="0">
                  <a:pos x="17" y="4"/>
                </a:cxn>
                <a:cxn ang="0">
                  <a:pos x="6" y="17"/>
                </a:cxn>
                <a:cxn ang="0">
                  <a:pos x="6" y="41"/>
                </a:cxn>
              </a:cxnLst>
              <a:rect l="0" t="0" r="r" b="b"/>
              <a:pathLst>
                <a:path w="20" h="41">
                  <a:moveTo>
                    <a:pt x="6" y="41"/>
                  </a:moveTo>
                  <a:cubicBezTo>
                    <a:pt x="1" y="41"/>
                    <a:pt x="1" y="41"/>
                    <a:pt x="1" y="41"/>
                  </a:cubicBezTo>
                  <a:cubicBezTo>
                    <a:pt x="1" y="10"/>
                    <a:pt x="1" y="10"/>
                    <a:pt x="1" y="10"/>
                  </a:cubicBezTo>
                  <a:cubicBezTo>
                    <a:pt x="1" y="7"/>
                    <a:pt x="0" y="4"/>
                    <a:pt x="0" y="1"/>
                  </a:cubicBezTo>
                  <a:cubicBezTo>
                    <a:pt x="5" y="1"/>
                    <a:pt x="5" y="1"/>
                    <a:pt x="5" y="1"/>
                  </a:cubicBezTo>
                  <a:cubicBezTo>
                    <a:pt x="6" y="7"/>
                    <a:pt x="6" y="7"/>
                    <a:pt x="6" y="7"/>
                  </a:cubicBezTo>
                  <a:cubicBezTo>
                    <a:pt x="6" y="7"/>
                    <a:pt x="6" y="7"/>
                    <a:pt x="6" y="7"/>
                  </a:cubicBezTo>
                  <a:cubicBezTo>
                    <a:pt x="7" y="3"/>
                    <a:pt x="11" y="0"/>
                    <a:pt x="15" y="0"/>
                  </a:cubicBezTo>
                  <a:cubicBezTo>
                    <a:pt x="16" y="0"/>
                    <a:pt x="18" y="0"/>
                    <a:pt x="20" y="0"/>
                  </a:cubicBezTo>
                  <a:cubicBezTo>
                    <a:pt x="20" y="5"/>
                    <a:pt x="20" y="5"/>
                    <a:pt x="20" y="5"/>
                  </a:cubicBezTo>
                  <a:cubicBezTo>
                    <a:pt x="19" y="5"/>
                    <a:pt x="18" y="4"/>
                    <a:pt x="17" y="4"/>
                  </a:cubicBezTo>
                  <a:cubicBezTo>
                    <a:pt x="9" y="4"/>
                    <a:pt x="6" y="9"/>
                    <a:pt x="6" y="17"/>
                  </a:cubicBezTo>
                  <a:lnTo>
                    <a:pt x="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29" name="Freeform 16"/>
            <p:cNvSpPr>
              <a:spLocks/>
            </p:cNvSpPr>
            <p:nvPr userDrawn="1"/>
          </p:nvSpPr>
          <p:spPr bwMode="auto">
            <a:xfrm>
              <a:off x="753" y="-1197"/>
              <a:ext cx="1914" cy="1928"/>
            </a:xfrm>
            <a:custGeom>
              <a:avLst/>
              <a:gdLst/>
              <a:ahLst/>
              <a:cxnLst>
                <a:cxn ang="0">
                  <a:pos x="270" y="113"/>
                </a:cxn>
                <a:cxn ang="0">
                  <a:pos x="136" y="0"/>
                </a:cxn>
                <a:cxn ang="0">
                  <a:pos x="0" y="136"/>
                </a:cxn>
                <a:cxn ang="0">
                  <a:pos x="136" y="272"/>
                </a:cxn>
                <a:cxn ang="0">
                  <a:pos x="244" y="219"/>
                </a:cxn>
                <a:cxn ang="0">
                  <a:pos x="212" y="194"/>
                </a:cxn>
                <a:cxn ang="0">
                  <a:pos x="136" y="232"/>
                </a:cxn>
                <a:cxn ang="0">
                  <a:pos x="40" y="136"/>
                </a:cxn>
                <a:cxn ang="0">
                  <a:pos x="136" y="41"/>
                </a:cxn>
                <a:cxn ang="0">
                  <a:pos x="229" y="113"/>
                </a:cxn>
                <a:cxn ang="0">
                  <a:pos x="128" y="113"/>
                </a:cxn>
                <a:cxn ang="0">
                  <a:pos x="128" y="153"/>
                </a:cxn>
                <a:cxn ang="0">
                  <a:pos x="270" y="153"/>
                </a:cxn>
                <a:cxn ang="0">
                  <a:pos x="270" y="113"/>
                </a:cxn>
              </a:cxnLst>
              <a:rect l="0" t="0" r="r" b="b"/>
              <a:pathLst>
                <a:path w="270" h="272">
                  <a:moveTo>
                    <a:pt x="270" y="113"/>
                  </a:moveTo>
                  <a:cubicBezTo>
                    <a:pt x="259" y="49"/>
                    <a:pt x="203" y="0"/>
                    <a:pt x="136" y="0"/>
                  </a:cubicBezTo>
                  <a:cubicBezTo>
                    <a:pt x="61" y="0"/>
                    <a:pt x="0" y="61"/>
                    <a:pt x="0" y="136"/>
                  </a:cubicBezTo>
                  <a:cubicBezTo>
                    <a:pt x="0" y="211"/>
                    <a:pt x="61" y="272"/>
                    <a:pt x="136" y="272"/>
                  </a:cubicBezTo>
                  <a:cubicBezTo>
                    <a:pt x="180" y="272"/>
                    <a:pt x="219" y="251"/>
                    <a:pt x="244" y="219"/>
                  </a:cubicBezTo>
                  <a:cubicBezTo>
                    <a:pt x="212" y="194"/>
                    <a:pt x="212" y="194"/>
                    <a:pt x="212" y="194"/>
                  </a:cubicBezTo>
                  <a:cubicBezTo>
                    <a:pt x="194" y="217"/>
                    <a:pt x="167" y="232"/>
                    <a:pt x="136" y="232"/>
                  </a:cubicBezTo>
                  <a:cubicBezTo>
                    <a:pt x="83" y="232"/>
                    <a:pt x="40" y="189"/>
                    <a:pt x="40" y="136"/>
                  </a:cubicBezTo>
                  <a:cubicBezTo>
                    <a:pt x="40" y="84"/>
                    <a:pt x="83" y="41"/>
                    <a:pt x="136" y="41"/>
                  </a:cubicBezTo>
                  <a:cubicBezTo>
                    <a:pt x="180" y="41"/>
                    <a:pt x="218" y="71"/>
                    <a:pt x="229" y="113"/>
                  </a:cubicBezTo>
                  <a:cubicBezTo>
                    <a:pt x="128" y="113"/>
                    <a:pt x="128" y="113"/>
                    <a:pt x="128" y="113"/>
                  </a:cubicBezTo>
                  <a:cubicBezTo>
                    <a:pt x="128" y="153"/>
                    <a:pt x="128" y="153"/>
                    <a:pt x="128" y="153"/>
                  </a:cubicBezTo>
                  <a:cubicBezTo>
                    <a:pt x="270" y="153"/>
                    <a:pt x="270" y="153"/>
                    <a:pt x="270" y="153"/>
                  </a:cubicBezTo>
                  <a:lnTo>
                    <a:pt x="270"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30" name="Freeform 17"/>
            <p:cNvSpPr>
              <a:spLocks/>
            </p:cNvSpPr>
            <p:nvPr userDrawn="1"/>
          </p:nvSpPr>
          <p:spPr bwMode="auto">
            <a:xfrm>
              <a:off x="-3449" y="-1197"/>
              <a:ext cx="1913" cy="1928"/>
            </a:xfrm>
            <a:custGeom>
              <a:avLst/>
              <a:gdLst/>
              <a:ahLst/>
              <a:cxnLst>
                <a:cxn ang="0">
                  <a:pos x="270" y="113"/>
                </a:cxn>
                <a:cxn ang="0">
                  <a:pos x="136" y="0"/>
                </a:cxn>
                <a:cxn ang="0">
                  <a:pos x="0" y="136"/>
                </a:cxn>
                <a:cxn ang="0">
                  <a:pos x="136" y="272"/>
                </a:cxn>
                <a:cxn ang="0">
                  <a:pos x="244" y="219"/>
                </a:cxn>
                <a:cxn ang="0">
                  <a:pos x="212" y="194"/>
                </a:cxn>
                <a:cxn ang="0">
                  <a:pos x="136" y="232"/>
                </a:cxn>
                <a:cxn ang="0">
                  <a:pos x="41" y="136"/>
                </a:cxn>
                <a:cxn ang="0">
                  <a:pos x="136" y="41"/>
                </a:cxn>
                <a:cxn ang="0">
                  <a:pos x="229" y="113"/>
                </a:cxn>
                <a:cxn ang="0">
                  <a:pos x="128" y="113"/>
                </a:cxn>
                <a:cxn ang="0">
                  <a:pos x="128" y="153"/>
                </a:cxn>
                <a:cxn ang="0">
                  <a:pos x="270" y="153"/>
                </a:cxn>
                <a:cxn ang="0">
                  <a:pos x="270" y="113"/>
                </a:cxn>
              </a:cxnLst>
              <a:rect l="0" t="0" r="r" b="b"/>
              <a:pathLst>
                <a:path w="270" h="272">
                  <a:moveTo>
                    <a:pt x="270" y="113"/>
                  </a:moveTo>
                  <a:cubicBezTo>
                    <a:pt x="259" y="49"/>
                    <a:pt x="203" y="0"/>
                    <a:pt x="136" y="0"/>
                  </a:cubicBezTo>
                  <a:cubicBezTo>
                    <a:pt x="61" y="0"/>
                    <a:pt x="0" y="61"/>
                    <a:pt x="0" y="136"/>
                  </a:cubicBezTo>
                  <a:cubicBezTo>
                    <a:pt x="0" y="211"/>
                    <a:pt x="61" y="272"/>
                    <a:pt x="136" y="272"/>
                  </a:cubicBezTo>
                  <a:cubicBezTo>
                    <a:pt x="180" y="272"/>
                    <a:pt x="219" y="251"/>
                    <a:pt x="244" y="219"/>
                  </a:cubicBezTo>
                  <a:cubicBezTo>
                    <a:pt x="212" y="194"/>
                    <a:pt x="212" y="194"/>
                    <a:pt x="212" y="194"/>
                  </a:cubicBezTo>
                  <a:cubicBezTo>
                    <a:pt x="194" y="217"/>
                    <a:pt x="167" y="232"/>
                    <a:pt x="136" y="232"/>
                  </a:cubicBezTo>
                  <a:cubicBezTo>
                    <a:pt x="83" y="232"/>
                    <a:pt x="41" y="189"/>
                    <a:pt x="41" y="136"/>
                  </a:cubicBezTo>
                  <a:cubicBezTo>
                    <a:pt x="41" y="84"/>
                    <a:pt x="83" y="41"/>
                    <a:pt x="136" y="41"/>
                  </a:cubicBezTo>
                  <a:cubicBezTo>
                    <a:pt x="181" y="41"/>
                    <a:pt x="218" y="71"/>
                    <a:pt x="229" y="113"/>
                  </a:cubicBezTo>
                  <a:cubicBezTo>
                    <a:pt x="128" y="113"/>
                    <a:pt x="128" y="113"/>
                    <a:pt x="128" y="113"/>
                  </a:cubicBezTo>
                  <a:cubicBezTo>
                    <a:pt x="128" y="153"/>
                    <a:pt x="128" y="153"/>
                    <a:pt x="128" y="153"/>
                  </a:cubicBezTo>
                  <a:cubicBezTo>
                    <a:pt x="270" y="153"/>
                    <a:pt x="270" y="153"/>
                    <a:pt x="270" y="153"/>
                  </a:cubicBezTo>
                  <a:lnTo>
                    <a:pt x="270"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31" name="Freeform 18"/>
            <p:cNvSpPr>
              <a:spLocks/>
            </p:cNvSpPr>
            <p:nvPr userDrawn="1"/>
          </p:nvSpPr>
          <p:spPr bwMode="auto">
            <a:xfrm>
              <a:off x="2957" y="-1785"/>
              <a:ext cx="553" cy="2516"/>
            </a:xfrm>
            <a:custGeom>
              <a:avLst/>
              <a:gdLst/>
              <a:ahLst/>
              <a:cxnLst>
                <a:cxn ang="0">
                  <a:pos x="40" y="264"/>
                </a:cxn>
                <a:cxn ang="0">
                  <a:pos x="40" y="0"/>
                </a:cxn>
                <a:cxn ang="0">
                  <a:pos x="0" y="0"/>
                </a:cxn>
                <a:cxn ang="0">
                  <a:pos x="0" y="264"/>
                </a:cxn>
                <a:cxn ang="0">
                  <a:pos x="54" y="355"/>
                </a:cxn>
                <a:cxn ang="0">
                  <a:pos x="78" y="322"/>
                </a:cxn>
                <a:cxn ang="0">
                  <a:pos x="40" y="264"/>
                </a:cxn>
              </a:cxnLst>
              <a:rect l="0" t="0" r="r" b="b"/>
              <a:pathLst>
                <a:path w="78" h="355">
                  <a:moveTo>
                    <a:pt x="40" y="264"/>
                  </a:moveTo>
                  <a:cubicBezTo>
                    <a:pt x="40" y="0"/>
                    <a:pt x="40" y="0"/>
                    <a:pt x="40" y="0"/>
                  </a:cubicBezTo>
                  <a:cubicBezTo>
                    <a:pt x="0" y="0"/>
                    <a:pt x="0" y="0"/>
                    <a:pt x="0" y="0"/>
                  </a:cubicBezTo>
                  <a:cubicBezTo>
                    <a:pt x="0" y="264"/>
                    <a:pt x="0" y="264"/>
                    <a:pt x="0" y="264"/>
                  </a:cubicBezTo>
                  <a:cubicBezTo>
                    <a:pt x="0" y="307"/>
                    <a:pt x="20" y="332"/>
                    <a:pt x="54" y="355"/>
                  </a:cubicBezTo>
                  <a:cubicBezTo>
                    <a:pt x="78" y="322"/>
                    <a:pt x="78" y="322"/>
                    <a:pt x="78" y="322"/>
                  </a:cubicBezTo>
                  <a:cubicBezTo>
                    <a:pt x="54" y="306"/>
                    <a:pt x="40" y="293"/>
                    <a:pt x="40"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sp>
          <p:nvSpPr>
            <p:cNvPr id="32" name="Freeform 19"/>
            <p:cNvSpPr>
              <a:spLocks/>
            </p:cNvSpPr>
            <p:nvPr userDrawn="1"/>
          </p:nvSpPr>
          <p:spPr bwMode="auto">
            <a:xfrm>
              <a:off x="-1245" y="-1197"/>
              <a:ext cx="1729" cy="1900"/>
            </a:xfrm>
            <a:custGeom>
              <a:avLst/>
              <a:gdLst/>
              <a:ahLst/>
              <a:cxnLst>
                <a:cxn ang="0">
                  <a:pos x="244" y="113"/>
                </a:cxn>
                <a:cxn ang="0">
                  <a:pos x="131" y="0"/>
                </a:cxn>
                <a:cxn ang="0">
                  <a:pos x="41" y="37"/>
                </a:cxn>
                <a:cxn ang="0">
                  <a:pos x="41" y="11"/>
                </a:cxn>
                <a:cxn ang="0">
                  <a:pos x="0" y="11"/>
                </a:cxn>
                <a:cxn ang="0">
                  <a:pos x="0" y="153"/>
                </a:cxn>
                <a:cxn ang="0">
                  <a:pos x="41" y="153"/>
                </a:cxn>
                <a:cxn ang="0">
                  <a:pos x="41" y="120"/>
                </a:cxn>
                <a:cxn ang="0">
                  <a:pos x="131" y="41"/>
                </a:cxn>
                <a:cxn ang="0">
                  <a:pos x="203" y="113"/>
                </a:cxn>
                <a:cxn ang="0">
                  <a:pos x="203" y="268"/>
                </a:cxn>
                <a:cxn ang="0">
                  <a:pos x="244" y="268"/>
                </a:cxn>
                <a:cxn ang="0">
                  <a:pos x="244" y="113"/>
                </a:cxn>
              </a:cxnLst>
              <a:rect l="0" t="0" r="r" b="b"/>
              <a:pathLst>
                <a:path w="244" h="268">
                  <a:moveTo>
                    <a:pt x="244" y="113"/>
                  </a:moveTo>
                  <a:cubicBezTo>
                    <a:pt x="244" y="50"/>
                    <a:pt x="193" y="0"/>
                    <a:pt x="131" y="0"/>
                  </a:cubicBezTo>
                  <a:cubicBezTo>
                    <a:pt x="96" y="0"/>
                    <a:pt x="64" y="14"/>
                    <a:pt x="41" y="37"/>
                  </a:cubicBezTo>
                  <a:cubicBezTo>
                    <a:pt x="41" y="11"/>
                    <a:pt x="41" y="11"/>
                    <a:pt x="41" y="11"/>
                  </a:cubicBezTo>
                  <a:cubicBezTo>
                    <a:pt x="0" y="11"/>
                    <a:pt x="0" y="11"/>
                    <a:pt x="0" y="11"/>
                  </a:cubicBezTo>
                  <a:cubicBezTo>
                    <a:pt x="0" y="153"/>
                    <a:pt x="0" y="153"/>
                    <a:pt x="0" y="153"/>
                  </a:cubicBezTo>
                  <a:cubicBezTo>
                    <a:pt x="41" y="153"/>
                    <a:pt x="41" y="153"/>
                    <a:pt x="41" y="153"/>
                  </a:cubicBezTo>
                  <a:cubicBezTo>
                    <a:pt x="41" y="120"/>
                    <a:pt x="41" y="120"/>
                    <a:pt x="41" y="120"/>
                  </a:cubicBezTo>
                  <a:cubicBezTo>
                    <a:pt x="47" y="87"/>
                    <a:pt x="76" y="41"/>
                    <a:pt x="131" y="41"/>
                  </a:cubicBezTo>
                  <a:cubicBezTo>
                    <a:pt x="171" y="41"/>
                    <a:pt x="203" y="72"/>
                    <a:pt x="203" y="113"/>
                  </a:cubicBezTo>
                  <a:cubicBezTo>
                    <a:pt x="203" y="268"/>
                    <a:pt x="203" y="268"/>
                    <a:pt x="203" y="268"/>
                  </a:cubicBezTo>
                  <a:cubicBezTo>
                    <a:pt x="244" y="268"/>
                    <a:pt x="244" y="268"/>
                    <a:pt x="244" y="268"/>
                  </a:cubicBezTo>
                  <a:lnTo>
                    <a:pt x="244"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139"/>
              <a:endParaRPr lang="en-GB" sz="2489">
                <a:solidFill>
                  <a:prstClr val="black"/>
                </a:solidFill>
              </a:endParaRPr>
            </a:p>
          </p:txBody>
        </p:sp>
      </p:grpSp>
    </p:spTree>
    <p:extLst>
      <p:ext uri="{BB962C8B-B14F-4D97-AF65-F5344CB8AC3E}">
        <p14:creationId xmlns:p14="http://schemas.microsoft.com/office/powerpoint/2010/main" val="2426494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Intestazione sezione">
    <p:bg>
      <p:bgPr>
        <a:solidFill>
          <a:schemeClr val="bg1"/>
        </a:solidFill>
        <a:effectLst/>
      </p:bgPr>
    </p:bg>
    <p:spTree>
      <p:nvGrpSpPr>
        <p:cNvPr id="1" name=""/>
        <p:cNvGrpSpPr/>
        <p:nvPr/>
      </p:nvGrpSpPr>
      <p:grpSpPr>
        <a:xfrm>
          <a:off x="0" y="0"/>
          <a:ext cx="0" cy="0"/>
          <a:chOff x="0" y="0"/>
          <a:chExt cx="0" cy="0"/>
        </a:xfrm>
      </p:grpSpPr>
      <p:graphicFrame>
        <p:nvGraphicFramePr>
          <p:cNvPr id="15" name="Oggetto 14" hidden="1"/>
          <p:cNvGraphicFramePr>
            <a:graphicFrameLocks noChangeAspect="1"/>
          </p:cNvGraphicFramePr>
          <p:nvPr>
            <p:custDataLst>
              <p:tags r:id="rId1"/>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15" name="Oggetto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pPr/>
              <a:t>‹N›</a:t>
            </a:fld>
            <a:endParaRPr lang="en-GB" dirty="0">
              <a:solidFill>
                <a:prstClr val="white"/>
              </a:solidFill>
            </a:endParaRPr>
          </a:p>
        </p:txBody>
      </p:sp>
      <p:sp>
        <p:nvSpPr>
          <p:cNvPr id="14" name="Title 9"/>
          <p:cNvSpPr>
            <a:spLocks noGrp="1"/>
          </p:cNvSpPr>
          <p:nvPr>
            <p:ph type="title" hasCustomPrompt="1"/>
          </p:nvPr>
        </p:nvSpPr>
        <p:spPr>
          <a:xfrm>
            <a:off x="1975984" y="1401897"/>
            <a:ext cx="7731542" cy="2330131"/>
          </a:xfrm>
          <a:noFill/>
        </p:spPr>
        <p:txBody>
          <a:bodyPr>
            <a:noAutofit/>
          </a:bodyPr>
          <a:lstStyle>
            <a:lvl1pPr>
              <a:defRPr sz="4800">
                <a:solidFill>
                  <a:schemeClr val="accent6"/>
                </a:solidFill>
              </a:defRPr>
            </a:lvl1pPr>
          </a:lstStyle>
          <a:p>
            <a:r>
              <a:rPr lang="en-GB" dirty="0"/>
              <a:t>Click to edit </a:t>
            </a:r>
            <a:br>
              <a:rPr lang="en-GB" dirty="0"/>
            </a:br>
            <a:r>
              <a:rPr lang="en-GB" dirty="0"/>
              <a:t>Master title style</a:t>
            </a:r>
          </a:p>
        </p:txBody>
      </p:sp>
      <p:grpSp>
        <p:nvGrpSpPr>
          <p:cNvPr id="6" name="Group 1"/>
          <p:cNvGrpSpPr/>
          <p:nvPr userDrawn="1"/>
        </p:nvGrpSpPr>
        <p:grpSpPr>
          <a:xfrm>
            <a:off x="1013885" y="920773"/>
            <a:ext cx="570224" cy="2736827"/>
            <a:chOff x="760413" y="690580"/>
            <a:chExt cx="544156" cy="2611716"/>
          </a:xfrm>
          <a:gradFill flip="none" rotWithShape="1">
            <a:gsLst>
              <a:gs pos="23000">
                <a:schemeClr val="accent6">
                  <a:lumMod val="40000"/>
                  <a:lumOff val="60000"/>
                </a:schemeClr>
              </a:gs>
              <a:gs pos="46000">
                <a:schemeClr val="accent6">
                  <a:lumMod val="95000"/>
                  <a:lumOff val="5000"/>
                </a:schemeClr>
              </a:gs>
              <a:gs pos="100000">
                <a:schemeClr val="accent6">
                  <a:lumMod val="60000"/>
                </a:schemeClr>
              </a:gs>
            </a:gsLst>
            <a:lin ang="16200000" scaled="1"/>
            <a:tileRect/>
          </a:gradFill>
        </p:grpSpPr>
        <p:sp>
          <p:nvSpPr>
            <p:cNvPr id="7" name="Rectangle 7"/>
            <p:cNvSpPr/>
            <p:nvPr userDrawn="1"/>
          </p:nvSpPr>
          <p:spPr>
            <a:xfrm>
              <a:off x="760413" y="690580"/>
              <a:ext cx="544156" cy="188699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defTabSz="914354"/>
              <a:endParaRPr lang="en-GB" sz="1867">
                <a:solidFill>
                  <a:srgbClr val="55BD5A"/>
                </a:solidFill>
              </a:endParaRPr>
            </a:p>
          </p:txBody>
        </p:sp>
        <p:sp>
          <p:nvSpPr>
            <p:cNvPr id="9" name="Rectangle 15"/>
            <p:cNvSpPr/>
            <p:nvPr userDrawn="1"/>
          </p:nvSpPr>
          <p:spPr>
            <a:xfrm>
              <a:off x="760413" y="2565815"/>
              <a:ext cx="544156" cy="736481"/>
            </a:xfrm>
            <a:prstGeom prst="rect">
              <a:avLst/>
            </a:prstGeom>
            <a:grpFill/>
            <a:ln>
              <a:noFill/>
            </a:ln>
          </p:spPr>
          <p:txBody>
            <a:bodyPr vert="horz" wrap="square" lIns="91440" tIns="45720" rIns="91440" bIns="45720" numCol="1" anchor="t" anchorCtr="0" compatLnSpc="1">
              <a:prstTxWarp prst="textNoShape">
                <a:avLst/>
              </a:prstTxWarp>
            </a:bodyPr>
            <a:lstStyle/>
            <a:p>
              <a:pPr defTabSz="914354"/>
              <a:endParaRPr lang="en-GB" sz="1867">
                <a:solidFill>
                  <a:srgbClr val="55BD5A"/>
                </a:solidFill>
              </a:endParaRPr>
            </a:p>
          </p:txBody>
        </p:sp>
      </p:grpSp>
      <p:pic>
        <p:nvPicPr>
          <p:cNvPr id="33" name="Picture 2"/>
          <p:cNvPicPr>
            <a:picLocks noChangeAspect="1" noChangeArrowheads="1"/>
          </p:cNvPicPr>
          <p:nvPr userDrawn="1"/>
        </p:nvPicPr>
        <p:blipFill>
          <a:blip r:embed="rId5" cstate="email">
            <a:extLst>
              <a:ext uri="{28A0092B-C50C-407E-A947-70E740481C1C}">
                <a14:useLocalDpi xmlns:a14="http://schemas.microsoft.com/office/drawing/2010/main" val="0"/>
              </a:ext>
            </a:extLst>
          </a:blip>
          <a:stretch>
            <a:fillRect/>
          </a:stretch>
        </p:blipFill>
        <p:spPr bwMode="auto">
          <a:xfrm>
            <a:off x="10082249" y="408424"/>
            <a:ext cx="1345443" cy="671077"/>
          </a:xfrm>
          <a:prstGeom prst="rect">
            <a:avLst/>
          </a:prstGeom>
          <a:noFill/>
        </p:spPr>
      </p:pic>
    </p:spTree>
    <p:extLst>
      <p:ext uri="{BB962C8B-B14F-4D97-AF65-F5344CB8AC3E}">
        <p14:creationId xmlns:p14="http://schemas.microsoft.com/office/powerpoint/2010/main" val="488380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762002" y="2057401"/>
            <a:ext cx="533400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Content Placeholder 3"/>
          <p:cNvSpPr>
            <a:spLocks noGrp="1"/>
          </p:cNvSpPr>
          <p:nvPr>
            <p:ph sz="half" idx="2"/>
          </p:nvPr>
        </p:nvSpPr>
        <p:spPr>
          <a:xfrm>
            <a:off x="6096002" y="2057401"/>
            <a:ext cx="5330825"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693421" y="841529"/>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4216102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762002" y="2057401"/>
            <a:ext cx="3554412"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Content Placeholder 3"/>
          <p:cNvSpPr>
            <a:spLocks noGrp="1"/>
          </p:cNvSpPr>
          <p:nvPr>
            <p:ph sz="half" idx="2"/>
          </p:nvPr>
        </p:nvSpPr>
        <p:spPr>
          <a:xfrm>
            <a:off x="4316413" y="2057401"/>
            <a:ext cx="355441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
        <p:nvSpPr>
          <p:cNvPr id="12" name="Content Placeholder 3"/>
          <p:cNvSpPr>
            <a:spLocks noGrp="1"/>
          </p:cNvSpPr>
          <p:nvPr>
            <p:ph sz="half" idx="13"/>
          </p:nvPr>
        </p:nvSpPr>
        <p:spPr>
          <a:xfrm>
            <a:off x="7870825" y="2057401"/>
            <a:ext cx="355441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7"/>
          <p:cNvSpPr>
            <a:spLocks noGrp="1"/>
          </p:cNvSpPr>
          <p:nvPr>
            <p:ph type="body" sz="quarter" idx="14" hasCustomPrompt="1"/>
          </p:nvPr>
        </p:nvSpPr>
        <p:spPr>
          <a:xfrm>
            <a:off x="685801" y="826289"/>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722267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4" name="Oggetto 3"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it-IT"/>
              <a:t>Fare clic per modificare lo stile del titolo</a:t>
            </a:r>
            <a:endParaRPr lang="en-GB" dirty="0"/>
          </a:p>
        </p:txBody>
      </p:sp>
      <p:sp>
        <p:nvSpPr>
          <p:cNvPr id="3" name="Content Placeholder 2"/>
          <p:cNvSpPr>
            <a:spLocks noGrp="1"/>
          </p:cNvSpPr>
          <p:nvPr>
            <p:ph idx="1"/>
          </p:nvPr>
        </p:nvSpPr>
        <p:spPr/>
        <p:txBody>
          <a:bodyPr/>
          <a:lstStyle>
            <a:lvl1pPr>
              <a:spcBef>
                <a:spcPts val="1200"/>
              </a:spcBef>
              <a:spcAft>
                <a:spcPts val="1200"/>
              </a:spcAft>
              <a:defRPr sz="3867"/>
            </a:lvl1pPr>
            <a:lvl2pPr>
              <a:defRPr i="1"/>
            </a:lvl2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685801" y="833909"/>
            <a:ext cx="8375651" cy="276999"/>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2555073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pPr/>
              <a:t>‹N›</a:t>
            </a:fld>
            <a:endParaRPr lang="en-GB">
              <a:solidFill>
                <a:prstClr val="white"/>
              </a:solidFill>
            </a:endParaRPr>
          </a:p>
        </p:txBody>
      </p:sp>
      <p:sp>
        <p:nvSpPr>
          <p:cNvPr id="7" name="Rectangle 6"/>
          <p:cNvSpPr/>
          <p:nvPr userDrawn="1"/>
        </p:nvSpPr>
        <p:spPr>
          <a:xfrm rot="5400000">
            <a:off x="1845392" y="-394415"/>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9" tIns="45719" rIns="91439" bIns="45719" rtlCol="0" anchor="ctr"/>
          <a:lstStyle/>
          <a:p>
            <a:pPr algn="ctr" defTabSz="914354"/>
            <a:endParaRPr lang="en-GB" sz="1867">
              <a:solidFill>
                <a:srgbClr val="0655FA"/>
              </a:solidFill>
            </a:endParaRPr>
          </a:p>
        </p:txBody>
      </p:sp>
      <p:sp>
        <p:nvSpPr>
          <p:cNvPr id="3" name="Text Placeholder 2"/>
          <p:cNvSpPr>
            <a:spLocks noGrp="1"/>
          </p:cNvSpPr>
          <p:nvPr>
            <p:ph type="body" sz="quarter" idx="13"/>
          </p:nvPr>
        </p:nvSpPr>
        <p:spPr>
          <a:xfrm>
            <a:off x="772213"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8237337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ttangolo 3"/>
          <p:cNvSpPr/>
          <p:nvPr userDrawn="1"/>
        </p:nvSpPr>
        <p:spPr>
          <a:xfrm>
            <a:off x="600076" y="408424"/>
            <a:ext cx="9213395" cy="683779"/>
          </a:xfrm>
          <a:prstGeom prst="rect">
            <a:avLst/>
          </a:prstGeom>
          <a:gradFill flip="none" rotWithShape="1">
            <a:gsLst>
              <a:gs pos="0">
                <a:schemeClr val="accent6"/>
              </a:gs>
              <a:gs pos="69000">
                <a:schemeClr val="accent6">
                  <a:lumMod val="60000"/>
                  <a:lumOff val="4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solidFill>
                <a:prstClr val="white"/>
              </a:solidFill>
            </a:endParaRPr>
          </a:p>
        </p:txBody>
      </p:sp>
      <p:graphicFrame>
        <p:nvGraphicFramePr>
          <p:cNvPr id="9" name="Oggetto 8" hidden="1"/>
          <p:cNvGraphicFramePr>
            <a:graphicFrameLocks noChangeAspect="1"/>
          </p:cNvGraphicFramePr>
          <p:nvPr>
            <p:custDataLst>
              <p:tags r:id="rId20"/>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name="Diapositiva think-cell" r:id="rId21" imgW="360" imgH="360" progId="TCLayout.ActiveDocument.1">
                  <p:embed/>
                </p:oleObj>
              </mc:Choice>
              <mc:Fallback>
                <p:oleObj name="Diapositiva think-cell" r:id="rId21" imgW="360" imgH="360" progId="TCLayout.ActiveDocument.1">
                  <p:embed/>
                  <p:pic>
                    <p:nvPicPr>
                      <p:cNvPr id="9" name="Oggetto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87570" y="416352"/>
            <a:ext cx="8375651"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34997" bIns="0" rtlCol="0">
            <a:noAutofit/>
          </a:bodyPr>
          <a:lstStyle/>
          <a:p>
            <a:pPr lvl="0"/>
            <a:r>
              <a:rPr lang="it-IT" noProof="0" dirty="0"/>
              <a:t>Fare clic per modificare stili del testo dello schema</a:t>
            </a:r>
          </a:p>
          <a:p>
            <a:pPr lvl="1"/>
            <a:r>
              <a:rPr lang="it-IT" noProof="0" dirty="0"/>
              <a:t>Secondo livello</a:t>
            </a:r>
          </a:p>
          <a:p>
            <a:pPr lvl="2"/>
            <a:r>
              <a:rPr lang="it-IT" noProof="0" dirty="0"/>
              <a:t>Terzo livello</a:t>
            </a:r>
          </a:p>
          <a:p>
            <a:pPr lvl="3"/>
            <a:r>
              <a:rPr lang="it-IT" noProof="0" dirty="0"/>
              <a:t>Quarto livello</a:t>
            </a:r>
          </a:p>
          <a:p>
            <a:pPr lvl="4"/>
            <a:r>
              <a:rPr lang="it-IT" noProof="0" dirty="0"/>
              <a:t>Quinto livello</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67">
                <a:solidFill>
                  <a:schemeClr val="tx2">
                    <a:lumMod val="75000"/>
                  </a:schemeClr>
                </a:solidFill>
              </a:defRPr>
            </a:lvl1pPr>
          </a:lstStyle>
          <a:p>
            <a:pPr defTabSz="914354"/>
            <a:fld id="{1ED2235E-0982-3B42-A838-A74550CD4449}" type="slidenum">
              <a:rPr lang="en-GB" smtClean="0">
                <a:solidFill>
                  <a:srgbClr val="C6C6C6">
                    <a:lumMod val="75000"/>
                  </a:srgbClr>
                </a:solidFill>
              </a:rPr>
              <a:pPr defTabSz="914354"/>
              <a:t>‹N›</a:t>
            </a:fld>
            <a:endParaRPr lang="en-GB">
              <a:solidFill>
                <a:srgbClr val="C6C6C6">
                  <a:lumMod val="75000"/>
                </a:srgbClr>
              </a:solidFill>
            </a:endParaRPr>
          </a:p>
        </p:txBody>
      </p:sp>
      <p:sp>
        <p:nvSpPr>
          <p:cNvPr id="10" name="Rectangle 9"/>
          <p:cNvSpPr/>
          <p:nvPr/>
        </p:nvSpPr>
        <p:spPr>
          <a:xfrm>
            <a:off x="403225" y="409578"/>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9" tIns="45719" rIns="91439" bIns="45719" rtlCol="0" anchor="ctr"/>
          <a:lstStyle/>
          <a:p>
            <a:pPr algn="ctr" defTabSz="914354"/>
            <a:endParaRPr lang="en-GB" sz="1867">
              <a:solidFill>
                <a:prstClr val="white"/>
              </a:solidFill>
            </a:endParaRPr>
          </a:p>
        </p:txBody>
      </p:sp>
      <p:pic>
        <p:nvPicPr>
          <p:cNvPr id="12" name="Picture 2"/>
          <p:cNvPicPr>
            <a:picLocks noChangeAspect="1" noChangeArrowheads="1"/>
          </p:cNvPicPr>
          <p:nvPr/>
        </p:nvPicPr>
        <p:blipFill>
          <a:blip r:embed="rId23" cstate="email">
            <a:extLst>
              <a:ext uri="{28A0092B-C50C-407E-A947-70E740481C1C}">
                <a14:useLocalDpi xmlns:a14="http://schemas.microsoft.com/office/drawing/2010/main" val="0"/>
              </a:ext>
            </a:extLst>
          </a:blip>
          <a:stretch>
            <a:fillRect/>
          </a:stretch>
        </p:blipFill>
        <p:spPr bwMode="auto">
          <a:xfrm>
            <a:off x="10082249" y="408424"/>
            <a:ext cx="1345443" cy="671077"/>
          </a:xfrm>
          <a:prstGeom prst="rect">
            <a:avLst/>
          </a:prstGeom>
          <a:noFill/>
        </p:spPr>
      </p:pic>
    </p:spTree>
    <p:extLst>
      <p:ext uri="{BB962C8B-B14F-4D97-AF65-F5344CB8AC3E}">
        <p14:creationId xmlns:p14="http://schemas.microsoft.com/office/powerpoint/2010/main" val="118996312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hf hdr="0" ftr="0" dt="0"/>
  <p:txStyles>
    <p:titleStyle>
      <a:lvl1pPr algn="l" defTabSz="914354"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0" indent="0" algn="l" defTabSz="914354" rtl="0" eaLnBrk="1" latinLnBrk="0" hangingPunct="1">
        <a:lnSpc>
          <a:spcPct val="100000"/>
        </a:lnSpc>
        <a:spcBef>
          <a:spcPts val="600"/>
        </a:spcBef>
        <a:spcAft>
          <a:spcPts val="600"/>
        </a:spcAft>
        <a:buFont typeface="Arial"/>
        <a:buNone/>
        <a:tabLst>
          <a:tab pos="1057222" algn="l"/>
        </a:tabLst>
        <a:defRPr sz="1867" kern="1200">
          <a:solidFill>
            <a:schemeClr val="tx1"/>
          </a:solidFill>
          <a:latin typeface="+mn-lt"/>
          <a:ea typeface="+mn-ea"/>
          <a:cs typeface="+mn-cs"/>
        </a:defRPr>
      </a:lvl1pPr>
      <a:lvl2pPr marL="285737" indent="-285737" algn="l" defTabSz="914354" rtl="0" eaLnBrk="1" latinLnBrk="0" hangingPunct="1">
        <a:lnSpc>
          <a:spcPct val="100000"/>
        </a:lnSpc>
        <a:spcBef>
          <a:spcPts val="0"/>
        </a:spcBef>
        <a:spcAft>
          <a:spcPts val="600"/>
        </a:spcAft>
        <a:buFont typeface="Lucida Grande"/>
        <a:buChar char="-"/>
        <a:tabLst>
          <a:tab pos="1057222" algn="l"/>
        </a:tabLst>
        <a:defRPr sz="1867" i="0" kern="1200">
          <a:solidFill>
            <a:schemeClr val="tx1"/>
          </a:solidFill>
          <a:latin typeface="+mn-lt"/>
          <a:ea typeface="+mn-ea"/>
          <a:cs typeface="+mn-cs"/>
        </a:defRPr>
      </a:lvl2pPr>
      <a:lvl3pPr marL="539724" indent="-269861" algn="l" defTabSz="914354" rtl="0" eaLnBrk="1" latinLnBrk="0" hangingPunct="1">
        <a:lnSpc>
          <a:spcPct val="100000"/>
        </a:lnSpc>
        <a:spcBef>
          <a:spcPts val="0"/>
        </a:spcBef>
        <a:spcAft>
          <a:spcPts val="600"/>
        </a:spcAft>
        <a:buFont typeface="Lucida Grande"/>
        <a:buChar char="-"/>
        <a:tabLst>
          <a:tab pos="1057222" algn="l"/>
        </a:tabLst>
        <a:defRPr sz="1867" kern="1200">
          <a:solidFill>
            <a:schemeClr val="tx1"/>
          </a:solidFill>
          <a:latin typeface="+mn-lt"/>
          <a:ea typeface="+mn-ea"/>
          <a:cs typeface="+mn-cs"/>
        </a:defRPr>
      </a:lvl3pPr>
      <a:lvl4pPr marL="541312" indent="-271449" algn="l" defTabSz="914354" rtl="0" eaLnBrk="1" latinLnBrk="0" hangingPunct="1">
        <a:lnSpc>
          <a:spcPct val="100000"/>
        </a:lnSpc>
        <a:spcBef>
          <a:spcPts val="0"/>
        </a:spcBef>
        <a:spcAft>
          <a:spcPts val="600"/>
        </a:spcAft>
        <a:buFont typeface="Lucida Grande"/>
        <a:buChar char="-"/>
        <a:tabLst>
          <a:tab pos="1057222" algn="l"/>
        </a:tabLst>
        <a:defRPr sz="1867" kern="1200">
          <a:solidFill>
            <a:schemeClr val="tx1"/>
          </a:solidFill>
          <a:latin typeface="+mn-lt"/>
          <a:ea typeface="+mn-ea"/>
          <a:cs typeface="+mn-cs"/>
        </a:defRPr>
      </a:lvl4pPr>
      <a:lvl5pPr marL="541312" indent="-271449" algn="l" defTabSz="914354" rtl="0" eaLnBrk="1" latinLnBrk="0" hangingPunct="1">
        <a:lnSpc>
          <a:spcPct val="100000"/>
        </a:lnSpc>
        <a:spcBef>
          <a:spcPts val="0"/>
        </a:spcBef>
        <a:spcAft>
          <a:spcPts val="600"/>
        </a:spcAft>
        <a:buFont typeface="Lucida Grande"/>
        <a:buChar char="-"/>
        <a:tabLst/>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54" rtl="0" eaLnBrk="1" latinLnBrk="0" hangingPunct="1">
        <a:defRPr sz="1867" kern="1200">
          <a:solidFill>
            <a:schemeClr val="tx1"/>
          </a:solidFill>
          <a:latin typeface="+mn-lt"/>
          <a:ea typeface="+mn-ea"/>
          <a:cs typeface="+mn-cs"/>
        </a:defRPr>
      </a:lvl1pPr>
      <a:lvl2pPr marL="457178" algn="l" defTabSz="914354" rtl="0" eaLnBrk="1" latinLnBrk="0" hangingPunct="1">
        <a:defRPr sz="1867" kern="1200">
          <a:solidFill>
            <a:schemeClr val="tx1"/>
          </a:solidFill>
          <a:latin typeface="+mn-lt"/>
          <a:ea typeface="+mn-ea"/>
          <a:cs typeface="+mn-cs"/>
        </a:defRPr>
      </a:lvl2pPr>
      <a:lvl3pPr marL="914354" algn="l" defTabSz="914354" rtl="0" eaLnBrk="1" latinLnBrk="0" hangingPunct="1">
        <a:defRPr sz="1867" kern="1200">
          <a:solidFill>
            <a:schemeClr val="tx1"/>
          </a:solidFill>
          <a:latin typeface="+mn-lt"/>
          <a:ea typeface="+mn-ea"/>
          <a:cs typeface="+mn-cs"/>
        </a:defRPr>
      </a:lvl3pPr>
      <a:lvl4pPr marL="1371532" algn="l" defTabSz="914354" rtl="0" eaLnBrk="1" latinLnBrk="0" hangingPunct="1">
        <a:defRPr sz="1867" kern="1200">
          <a:solidFill>
            <a:schemeClr val="tx1"/>
          </a:solidFill>
          <a:latin typeface="+mn-lt"/>
          <a:ea typeface="+mn-ea"/>
          <a:cs typeface="+mn-cs"/>
        </a:defRPr>
      </a:lvl4pPr>
      <a:lvl5pPr marL="1828709" algn="l" defTabSz="914354" rtl="0" eaLnBrk="1" latinLnBrk="0" hangingPunct="1">
        <a:defRPr sz="1867" kern="1200">
          <a:solidFill>
            <a:schemeClr val="tx1"/>
          </a:solidFill>
          <a:latin typeface="+mn-lt"/>
          <a:ea typeface="+mn-ea"/>
          <a:cs typeface="+mn-cs"/>
        </a:defRPr>
      </a:lvl5pPr>
      <a:lvl6pPr marL="2285886" algn="l" defTabSz="914354" rtl="0" eaLnBrk="1" latinLnBrk="0" hangingPunct="1">
        <a:defRPr sz="1867" kern="1200">
          <a:solidFill>
            <a:schemeClr val="tx1"/>
          </a:solidFill>
          <a:latin typeface="+mn-lt"/>
          <a:ea typeface="+mn-ea"/>
          <a:cs typeface="+mn-cs"/>
        </a:defRPr>
      </a:lvl6pPr>
      <a:lvl7pPr marL="2743062" algn="l" defTabSz="914354" rtl="0" eaLnBrk="1" latinLnBrk="0" hangingPunct="1">
        <a:defRPr sz="1867" kern="1200">
          <a:solidFill>
            <a:schemeClr val="tx1"/>
          </a:solidFill>
          <a:latin typeface="+mn-lt"/>
          <a:ea typeface="+mn-ea"/>
          <a:cs typeface="+mn-cs"/>
        </a:defRPr>
      </a:lvl7pPr>
      <a:lvl8pPr marL="3200240" algn="l" defTabSz="914354" rtl="0" eaLnBrk="1" latinLnBrk="0" hangingPunct="1">
        <a:defRPr sz="1867" kern="1200">
          <a:solidFill>
            <a:schemeClr val="tx1"/>
          </a:solidFill>
          <a:latin typeface="+mn-lt"/>
          <a:ea typeface="+mn-ea"/>
          <a:cs typeface="+mn-cs"/>
        </a:defRPr>
      </a:lvl8pPr>
      <a:lvl9pPr marL="3657418" algn="l" defTabSz="91435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0">
          <p15:clr>
            <a:srgbClr val="F26B43"/>
          </p15:clr>
        </p15:guide>
        <p15:guide id="4" pos="1920">
          <p15:clr>
            <a:srgbClr val="F26B43"/>
          </p15:clr>
        </p15:guide>
        <p15:guide id="5" pos="960">
          <p15:clr>
            <a:srgbClr val="F26B43"/>
          </p15:clr>
        </p15:guide>
        <p15:guide id="6" pos="1438">
          <p15:clr>
            <a:srgbClr val="F26B43"/>
          </p15:clr>
        </p15:guide>
        <p15:guide id="7" pos="2398">
          <p15:clr>
            <a:srgbClr val="F26B43"/>
          </p15:clr>
        </p15:guide>
        <p15:guide id="8" pos="2880">
          <p15:clr>
            <a:srgbClr val="F26B43"/>
          </p15:clr>
        </p15:guide>
        <p15:guide id="9" pos="3360">
          <p15:clr>
            <a:srgbClr val="F26B43"/>
          </p15:clr>
        </p15:guide>
        <p15:guide id="10" pos="4320">
          <p15:clr>
            <a:srgbClr val="F26B43"/>
          </p15:clr>
        </p15:guide>
        <p15:guide id="11" pos="4798">
          <p15:clr>
            <a:srgbClr val="F26B43"/>
          </p15:clr>
        </p15:guide>
        <p15:guide id="12" pos="5278">
          <p15:clr>
            <a:srgbClr val="F26B43"/>
          </p15:clr>
        </p15:guide>
        <p15:guide id="13" pos="5756">
          <p15:clr>
            <a:srgbClr val="F26B43"/>
          </p15:clr>
        </p15:guide>
        <p15:guide id="14" pos="6236">
          <p15:clr>
            <a:srgbClr val="F26B43"/>
          </p15:clr>
        </p15:guide>
        <p15:guide id="15" pos="6718">
          <p15:clr>
            <a:srgbClr val="F26B43"/>
          </p15:clr>
        </p15:guide>
        <p15:guide id="16" pos="7197">
          <p15:clr>
            <a:srgbClr val="F26B43"/>
          </p15:clr>
        </p15:guide>
        <p15:guide id="17" orient="horz" pos="1728">
          <p15:clr>
            <a:srgbClr val="F26B43"/>
          </p15:clr>
        </p15:guide>
        <p15:guide id="18" orient="horz" pos="1296">
          <p15:clr>
            <a:srgbClr val="F26B43"/>
          </p15:clr>
        </p15:guide>
        <p15:guide id="19" orient="horz" pos="864">
          <p15:clr>
            <a:srgbClr val="F26B43"/>
          </p15:clr>
        </p15:guide>
        <p15:guide id="20" orient="horz" pos="434">
          <p15:clr>
            <a:srgbClr val="F26B43"/>
          </p15:clr>
        </p15:guide>
        <p15:guide id="21" orient="horz" pos="2590">
          <p15:clr>
            <a:srgbClr val="F26B43"/>
          </p15:clr>
        </p15:guide>
        <p15:guide id="22" orient="horz" pos="3022">
          <p15:clr>
            <a:srgbClr val="F26B43"/>
          </p15:clr>
        </p15:guide>
        <p15:guide id="23" orient="horz" pos="3454">
          <p15:clr>
            <a:srgbClr val="F26B43"/>
          </p15:clr>
        </p15:guide>
        <p15:guide id="24" orient="horz" pos="38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it-IT">
                <a:solidFill>
                  <a:srgbClr val="C6C6C6">
                    <a:lumMod val="75000"/>
                  </a:srgbClr>
                </a:solidFill>
              </a:rPr>
              <a:t>23/01/2019</a:t>
            </a:r>
            <a:endParaRPr lang="en-GB">
              <a:solidFill>
                <a:srgbClr val="C6C6C6">
                  <a:lumMod val="75000"/>
                </a:srgbClr>
              </a:solidFill>
            </a:endParaRPr>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a:solidFill>
                  <a:srgbClr val="C6C6C6">
                    <a:lumMod val="75000"/>
                  </a:srgbClr>
                </a:solidFill>
              </a:rPr>
              <a:t>Venaus - Leadership for Safety</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pPr/>
              <a:t>‹N›</a:t>
            </a:fld>
            <a:endParaRPr lang="en-GB">
              <a:solidFill>
                <a:srgbClr val="C6C6C6">
                  <a:lumMod val="75000"/>
                </a:srgbClr>
              </a:solidFill>
            </a:endParaRPr>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tretch>
            <a:fillRect/>
          </a:stretch>
        </p:blipFill>
        <p:spPr bwMode="auto">
          <a:xfrm>
            <a:off x="10082248" y="687822"/>
            <a:ext cx="1345443" cy="671077"/>
          </a:xfrm>
          <a:prstGeom prst="rect">
            <a:avLst/>
          </a:prstGeom>
          <a:noFill/>
        </p:spPr>
      </p:pic>
    </p:spTree>
    <p:extLst>
      <p:ext uri="{BB962C8B-B14F-4D97-AF65-F5344CB8AC3E}">
        <p14:creationId xmlns:p14="http://schemas.microsoft.com/office/powerpoint/2010/main" val="150098858"/>
      </p:ext>
    </p:extLst>
  </p:cSld>
  <p:clrMap bg1="lt1" tx1="dk1" bg2="lt2" tx2="dk2" accent1="accent1" accent2="accent2" accent3="accent3" accent4="accent4" accent5="accent5" accent6="accent6" hlink="hlink" folHlink="folHlink"/>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338" indent="-271463"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338" indent="-271463" algn="l" defTabSz="914400" rtl="0" eaLnBrk="1" latinLnBrk="0" hangingPunct="1">
        <a:lnSpc>
          <a:spcPct val="100000"/>
        </a:lnSpc>
        <a:spcBef>
          <a:spcPts val="0"/>
        </a:spcBef>
        <a:spcAft>
          <a:spcPts val="600"/>
        </a:spcAft>
        <a:buFont typeface="Lucida Grande"/>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0">
          <p15:clr>
            <a:srgbClr val="F26B43"/>
          </p15:clr>
        </p15:guide>
        <p15:guide id="4" pos="1920">
          <p15:clr>
            <a:srgbClr val="F26B43"/>
          </p15:clr>
        </p15:guide>
        <p15:guide id="5" pos="960">
          <p15:clr>
            <a:srgbClr val="F26B43"/>
          </p15:clr>
        </p15:guide>
        <p15:guide id="6" pos="1438">
          <p15:clr>
            <a:srgbClr val="F26B43"/>
          </p15:clr>
        </p15:guide>
        <p15:guide id="7" pos="2398">
          <p15:clr>
            <a:srgbClr val="F26B43"/>
          </p15:clr>
        </p15:guide>
        <p15:guide id="8" pos="2880">
          <p15:clr>
            <a:srgbClr val="F26B43"/>
          </p15:clr>
        </p15:guide>
        <p15:guide id="9" pos="3360">
          <p15:clr>
            <a:srgbClr val="F26B43"/>
          </p15:clr>
        </p15:guide>
        <p15:guide id="10" pos="4320">
          <p15:clr>
            <a:srgbClr val="F26B43"/>
          </p15:clr>
        </p15:guide>
        <p15:guide id="11" pos="4798">
          <p15:clr>
            <a:srgbClr val="F26B43"/>
          </p15:clr>
        </p15:guide>
        <p15:guide id="12" pos="5278">
          <p15:clr>
            <a:srgbClr val="F26B43"/>
          </p15:clr>
        </p15:guide>
        <p15:guide id="13" pos="5756">
          <p15:clr>
            <a:srgbClr val="F26B43"/>
          </p15:clr>
        </p15:guide>
        <p15:guide id="14" pos="6236">
          <p15:clr>
            <a:srgbClr val="F26B43"/>
          </p15:clr>
        </p15:guide>
        <p15:guide id="15" pos="6718">
          <p15:clr>
            <a:srgbClr val="F26B43"/>
          </p15:clr>
        </p15:guide>
        <p15:guide id="16" pos="7197">
          <p15:clr>
            <a:srgbClr val="F26B43"/>
          </p15:clr>
        </p15:guide>
        <p15:guide id="17" orient="horz" pos="1728">
          <p15:clr>
            <a:srgbClr val="F26B43"/>
          </p15:clr>
        </p15:guide>
        <p15:guide id="18" orient="horz" pos="1296">
          <p15:clr>
            <a:srgbClr val="F26B43"/>
          </p15:clr>
        </p15:guide>
        <p15:guide id="19" orient="horz" pos="864">
          <p15:clr>
            <a:srgbClr val="F26B43"/>
          </p15:clr>
        </p15:guide>
        <p15:guide id="20" orient="horz" pos="434">
          <p15:clr>
            <a:srgbClr val="F26B43"/>
          </p15:clr>
        </p15:guide>
        <p15:guide id="21" orient="horz" pos="2590">
          <p15:clr>
            <a:srgbClr val="F26B43"/>
          </p15:clr>
        </p15:guide>
        <p15:guide id="22" orient="horz" pos="3022">
          <p15:clr>
            <a:srgbClr val="F26B43"/>
          </p15:clr>
        </p15:guide>
        <p15:guide id="23" orient="horz" pos="3454">
          <p15:clr>
            <a:srgbClr val="F26B43"/>
          </p15:clr>
        </p15:guide>
        <p15:guide id="24" orient="horz" pos="38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gif"/><Relationship Id="rId7" Type="http://schemas.openxmlformats.org/officeDocument/2006/relationships/diagramQuickStyle" Target="../diagrams/quickStyle1.xml"/><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gif"/><Relationship Id="rId9" Type="http://schemas.microsoft.com/office/2007/relationships/diagramDrawing" Target="../diagrams/drawing1.xml"/></Relationships>
</file>

<file path=ppt/slides/_rels/slide3.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2626897"/>
          </a:xfrm>
        </p:spPr>
        <p:txBody>
          <a:bodyPr/>
          <a:lstStyle/>
          <a:p>
            <a:r>
              <a:rPr lang="en-GB" dirty="0"/>
              <a:t>O&amp;M Italy</a:t>
            </a:r>
            <a:br>
              <a:rPr lang="en-GB" dirty="0"/>
            </a:br>
            <a:r>
              <a:rPr lang="en-GB" dirty="0"/>
              <a:t>Area Nord </a:t>
            </a:r>
            <a:r>
              <a:rPr lang="en-GB" dirty="0" err="1"/>
              <a:t>Ovest</a:t>
            </a:r>
            <a:br>
              <a:rPr lang="en-GB" dirty="0"/>
            </a:br>
            <a:r>
              <a:rPr lang="en-GB" sz="3200" dirty="0"/>
              <a:t>Impianti &amp; </a:t>
            </a:r>
            <a:r>
              <a:rPr lang="en-GB" sz="3200" dirty="0" err="1"/>
              <a:t>Organizzazione</a:t>
            </a:r>
            <a:br>
              <a:rPr lang="en-GB" sz="3200" dirty="0"/>
            </a:br>
            <a:endParaRPr lang="en-GB" sz="3200" dirty="0"/>
          </a:p>
        </p:txBody>
      </p:sp>
      <p:sp>
        <p:nvSpPr>
          <p:cNvPr id="5" name="Date Placeholder 4"/>
          <p:cNvSpPr>
            <a:spLocks noGrp="1"/>
          </p:cNvSpPr>
          <p:nvPr>
            <p:ph type="dt" sz="half" idx="10"/>
          </p:nvPr>
        </p:nvSpPr>
        <p:spPr>
          <a:xfrm>
            <a:off x="632782" y="5036582"/>
            <a:ext cx="5279021" cy="287970"/>
          </a:xfrm>
        </p:spPr>
        <p:txBody>
          <a:bodyPr/>
          <a:lstStyle/>
          <a:p>
            <a:r>
              <a:rPr lang="en-GB" dirty="0"/>
              <a:t>Febbraio 2026</a:t>
            </a:r>
          </a:p>
        </p:txBody>
      </p:sp>
    </p:spTree>
    <p:extLst>
      <p:ext uri="{BB962C8B-B14F-4D97-AF65-F5344CB8AC3E}">
        <p14:creationId xmlns:p14="http://schemas.microsoft.com/office/powerpoint/2010/main" val="3001642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C41F1-139F-2367-D9F4-831FE1994A61}"/>
            </a:ext>
          </a:extLst>
        </p:cNvPr>
        <p:cNvGrpSpPr/>
        <p:nvPr/>
      </p:nvGrpSpPr>
      <p:grpSpPr>
        <a:xfrm>
          <a:off x="0" y="0"/>
          <a:ext cx="0" cy="0"/>
          <a:chOff x="0" y="0"/>
          <a:chExt cx="0" cy="0"/>
        </a:xfrm>
      </p:grpSpPr>
      <p:sp>
        <p:nvSpPr>
          <p:cNvPr id="7" name="Titolo 6">
            <a:extLst>
              <a:ext uri="{FF2B5EF4-FFF2-40B4-BE49-F238E27FC236}">
                <a16:creationId xmlns:a16="http://schemas.microsoft.com/office/drawing/2014/main" id="{C488DEC1-232A-BC6B-01B2-045D44883966}"/>
              </a:ext>
            </a:extLst>
          </p:cNvPr>
          <p:cNvSpPr>
            <a:spLocks noGrp="1"/>
          </p:cNvSpPr>
          <p:nvPr>
            <p:ph type="title"/>
          </p:nvPr>
        </p:nvSpPr>
        <p:spPr>
          <a:xfrm>
            <a:off x="691422" y="405576"/>
            <a:ext cx="8375651" cy="394980"/>
          </a:xfrm>
        </p:spPr>
        <p:txBody>
          <a:bodyPr/>
          <a:lstStyle/>
          <a:p>
            <a:r>
              <a:rPr lang="it-IT" dirty="0"/>
              <a:t>ANW – UT DOMO</a:t>
            </a:r>
          </a:p>
        </p:txBody>
      </p:sp>
      <p:sp>
        <p:nvSpPr>
          <p:cNvPr id="8" name="Segnaposto testo 7">
            <a:extLst>
              <a:ext uri="{FF2B5EF4-FFF2-40B4-BE49-F238E27FC236}">
                <a16:creationId xmlns:a16="http://schemas.microsoft.com/office/drawing/2014/main" id="{5FAE6AFD-F551-11B2-2DE4-C3C07D528EC7}"/>
              </a:ext>
            </a:extLst>
          </p:cNvPr>
          <p:cNvSpPr>
            <a:spLocks noGrp="1"/>
          </p:cNvSpPr>
          <p:nvPr>
            <p:ph type="body" sz="quarter" idx="13"/>
          </p:nvPr>
        </p:nvSpPr>
        <p:spPr>
          <a:xfrm>
            <a:off x="708862" y="744270"/>
            <a:ext cx="8375651" cy="276999"/>
          </a:xfrm>
        </p:spPr>
        <p:txBody>
          <a:bodyPr/>
          <a:lstStyle/>
          <a:p>
            <a:pPr lvl="0" defTabSz="894372">
              <a:buClr>
                <a:schemeClr val="tx2"/>
              </a:buClr>
            </a:pPr>
            <a:r>
              <a:rPr lang="it-IT" sz="1800" kern="0" dirty="0">
                <a:ea typeface="Arial Unicode MS" pitchFamily="34" charset="-128"/>
                <a:cs typeface="Arial Unicode MS" pitchFamily="34" charset="-128"/>
              </a:rPr>
              <a:t>Organigramma</a:t>
            </a:r>
            <a:endParaRPr lang="en-US" sz="1800" kern="0" dirty="0">
              <a:ea typeface="Arial Unicode MS" pitchFamily="34" charset="-128"/>
              <a:cs typeface="Arial Unicode MS" pitchFamily="34" charset="-128"/>
            </a:endParaRPr>
          </a:p>
          <a:p>
            <a:endParaRPr lang="it-IT" sz="1800" dirty="0"/>
          </a:p>
        </p:txBody>
      </p:sp>
      <p:sp>
        <p:nvSpPr>
          <p:cNvPr id="31" name="Segnaposto numero diapositiva 1">
            <a:extLst>
              <a:ext uri="{FF2B5EF4-FFF2-40B4-BE49-F238E27FC236}">
                <a16:creationId xmlns:a16="http://schemas.microsoft.com/office/drawing/2014/main" id="{F98FB2E2-0177-A234-454A-C105D75094DE}"/>
              </a:ext>
            </a:extLst>
          </p:cNvPr>
          <p:cNvSpPr>
            <a:spLocks noGrp="1"/>
          </p:cNvSpPr>
          <p:nvPr>
            <p:ph type="sldNum" sz="quarter" idx="12"/>
          </p:nvPr>
        </p:nvSpPr>
        <p:spPr>
          <a:xfrm>
            <a:off x="10664825" y="6264005"/>
            <a:ext cx="762000" cy="153888"/>
          </a:xfrm>
        </p:spPr>
        <p:txBody>
          <a:bodyPr/>
          <a:lstStyle/>
          <a:p>
            <a:fld id="{1ED2235E-0982-3B42-A838-A74550CD4449}" type="slidenum">
              <a:rPr lang="en-GB" smtClean="0"/>
              <a:pPr/>
              <a:t>2</a:t>
            </a:fld>
            <a:endParaRPr lang="en-GB" dirty="0"/>
          </a:p>
        </p:txBody>
      </p:sp>
      <p:pic>
        <p:nvPicPr>
          <p:cNvPr id="21" name="Immagine 20">
            <a:extLst>
              <a:ext uri="{FF2B5EF4-FFF2-40B4-BE49-F238E27FC236}">
                <a16:creationId xmlns:a16="http://schemas.microsoft.com/office/drawing/2014/main" id="{ED942B9A-EF7E-E798-7714-A5ABF342A0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950" y="266701"/>
            <a:ext cx="1286140" cy="936310"/>
          </a:xfrm>
          <a:prstGeom prst="rect">
            <a:avLst/>
          </a:prstGeom>
        </p:spPr>
      </p:pic>
      <p:sp>
        <p:nvSpPr>
          <p:cNvPr id="35" name="Rettangolo 34">
            <a:extLst>
              <a:ext uri="{FF2B5EF4-FFF2-40B4-BE49-F238E27FC236}">
                <a16:creationId xmlns:a16="http://schemas.microsoft.com/office/drawing/2014/main" id="{B7100C73-0C3A-CB4B-18E2-734E8ADF00FA}"/>
              </a:ext>
            </a:extLst>
          </p:cNvPr>
          <p:cNvSpPr/>
          <p:nvPr/>
        </p:nvSpPr>
        <p:spPr>
          <a:xfrm>
            <a:off x="393041" y="406859"/>
            <a:ext cx="215399" cy="688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pic>
        <p:nvPicPr>
          <p:cNvPr id="2" name="Immagine 1">
            <a:extLst>
              <a:ext uri="{FF2B5EF4-FFF2-40B4-BE49-F238E27FC236}">
                <a16:creationId xmlns:a16="http://schemas.microsoft.com/office/drawing/2014/main" id="{50163A0B-1ACE-0560-C6DC-6B54A16439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03944" y="2038951"/>
            <a:ext cx="3456537" cy="4074779"/>
          </a:xfrm>
          <a:prstGeom prst="rect">
            <a:avLst/>
          </a:prstGeom>
        </p:spPr>
      </p:pic>
      <p:graphicFrame>
        <p:nvGraphicFramePr>
          <p:cNvPr id="3" name="Diagramma 2">
            <a:extLst>
              <a:ext uri="{FF2B5EF4-FFF2-40B4-BE49-F238E27FC236}">
                <a16:creationId xmlns:a16="http://schemas.microsoft.com/office/drawing/2014/main" id="{4A635C03-CB28-91A6-2F0B-08C4ADCD4460}"/>
              </a:ext>
            </a:extLst>
          </p:cNvPr>
          <p:cNvGraphicFramePr/>
          <p:nvPr>
            <p:extLst>
              <p:ext uri="{D42A27DB-BD31-4B8C-83A1-F6EECF244321}">
                <p14:modId xmlns:p14="http://schemas.microsoft.com/office/powerpoint/2010/main" val="1408344239"/>
              </p:ext>
            </p:extLst>
          </p:nvPr>
        </p:nvGraphicFramePr>
        <p:xfrm>
          <a:off x="608440" y="1428534"/>
          <a:ext cx="7128970" cy="529561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Ovale 3">
            <a:extLst>
              <a:ext uri="{FF2B5EF4-FFF2-40B4-BE49-F238E27FC236}">
                <a16:creationId xmlns:a16="http://schemas.microsoft.com/office/drawing/2014/main" id="{F7E83AE7-966F-6876-B2A1-97055EDCC64B}"/>
              </a:ext>
            </a:extLst>
          </p:cNvPr>
          <p:cNvSpPr/>
          <p:nvPr/>
        </p:nvSpPr>
        <p:spPr>
          <a:xfrm>
            <a:off x="7982712" y="2267712"/>
            <a:ext cx="246888" cy="173736"/>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5" name="Freccia a destra 4">
            <a:extLst>
              <a:ext uri="{FF2B5EF4-FFF2-40B4-BE49-F238E27FC236}">
                <a16:creationId xmlns:a16="http://schemas.microsoft.com/office/drawing/2014/main" id="{E6A3F075-2D06-C278-EF85-71050194C664}"/>
              </a:ext>
            </a:extLst>
          </p:cNvPr>
          <p:cNvSpPr/>
          <p:nvPr/>
        </p:nvSpPr>
        <p:spPr>
          <a:xfrm rot="1670713">
            <a:off x="6701666" y="1668399"/>
            <a:ext cx="1347745" cy="56692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Tree>
    <p:extLst>
      <p:ext uri="{BB962C8B-B14F-4D97-AF65-F5344CB8AC3E}">
        <p14:creationId xmlns:p14="http://schemas.microsoft.com/office/powerpoint/2010/main" val="1959663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9C1961E6-4600-96B7-B8C8-3C0F332D4189}"/>
              </a:ext>
            </a:extLst>
          </p:cNvPr>
          <p:cNvSpPr txBox="1"/>
          <p:nvPr/>
        </p:nvSpPr>
        <p:spPr>
          <a:xfrm>
            <a:off x="259407" y="2896546"/>
            <a:ext cx="5727829" cy="3893374"/>
          </a:xfrm>
          <a:prstGeom prst="rect">
            <a:avLst/>
          </a:prstGeom>
          <a:noFill/>
        </p:spPr>
        <p:txBody>
          <a:bodyPr wrap="square" lIns="0" tIns="0" rIns="0" bIns="0" rtlCol="0">
            <a:spAutoFit/>
          </a:bodyPr>
          <a:lstStyle/>
          <a:p>
            <a:pPr algn="just">
              <a:buNone/>
            </a:pPr>
            <a:r>
              <a:rPr lang="it-IT" sz="1100" dirty="0"/>
              <a:t>Il reparto operativo di Ponte gestisce un complesso e affascinante sistema idroelettrico situato in alta Val d’Ossola, coordinando il lavoro di tecnici e personale operativo. Il cuore del sistema è costituito da un’articolata rete di sbarramenti che comprende cinque dighe: quattro di queste sono presidiate ininterrottamente, mentre la quinta, quella del Busin, svolge un ruolo sussidiario come serbatoio estivo per il Vannino prima di essere svuotata nel periodo autunnale. Data la collocazione degli impianti, spesso in contesti impervi d'alta quota, la logistica è supportata da infrastrutture dedicate come una funivia di proprietà Enel, fondamentale per il cambio dei guardiani al Sabbione, e piani inclinati utilizzati per movimentare i materiali lungo le condotte forzate.</a:t>
            </a:r>
          </a:p>
          <a:p>
            <a:pPr algn="just">
              <a:buNone/>
            </a:pPr>
            <a:r>
              <a:rPr lang="it-IT" sz="1100" dirty="0"/>
              <a:t>La vera peculiarità dell’unità risiede nella sua configurazione "a cascata", che permette di sfruttare la medesima risorsa idrica attraverso successivi balzi energetici lungo un’unica asta idrografica. Il percorso inizia dalla Diga del Sabbione, la più imponente della zona, che alimenta la centrale di Morasco, una struttura suggestiva interamente scavata nella roccia. Una volta utilizzata, l’acqua viene raccolta nella diga di Morasco e, insieme a quella proveniente dagli invasi del Toggia e del Vannino (tutti situati oltre i 2000 metri di altitudine), scende verso la centrale di Ponte, dove operano tre gruppi di produzione.</a:t>
            </a:r>
          </a:p>
          <a:p>
            <a:pPr algn="just">
              <a:buNone/>
            </a:pPr>
            <a:r>
              <a:rPr lang="it-IT" sz="1100" dirty="0"/>
              <a:t>Il ciclo non si esaurisce qui: le acque di scarico di Ponte vengono nuovamente convogliate per alimentare la centrale di Fondovalle, situata allo sbocco della galleria elicoidale provinciale. Infine, l'acqua viene raccolta un'ultima volta presso la traversa di Fondovalle e spinta attraverso un canale in pressione verso la centrale di Cadarese, l'ultimo anello della catena situato nel territorio della Valle Antigorio. Questo sistema integrato rappresenta un esempio di straordinaria efficienza ingegneristica, dove ogni goccia d’acqua viene valorizzata più volte nel suo cammino verso la valle.</a:t>
            </a:r>
          </a:p>
        </p:txBody>
      </p:sp>
      <p:sp>
        <p:nvSpPr>
          <p:cNvPr id="7" name="Titolo 6"/>
          <p:cNvSpPr>
            <a:spLocks noGrp="1"/>
          </p:cNvSpPr>
          <p:nvPr>
            <p:ph type="title"/>
          </p:nvPr>
        </p:nvSpPr>
        <p:spPr>
          <a:xfrm>
            <a:off x="691422" y="405576"/>
            <a:ext cx="8375651" cy="394980"/>
          </a:xfrm>
        </p:spPr>
        <p:txBody>
          <a:bodyPr/>
          <a:lstStyle/>
          <a:p>
            <a:r>
              <a:rPr lang="it-IT" dirty="0"/>
              <a:t>ANW – UT DOMO</a:t>
            </a:r>
          </a:p>
        </p:txBody>
      </p:sp>
      <p:sp>
        <p:nvSpPr>
          <p:cNvPr id="8" name="Segnaposto testo 7"/>
          <p:cNvSpPr>
            <a:spLocks noGrp="1"/>
          </p:cNvSpPr>
          <p:nvPr>
            <p:ph type="body" sz="quarter" idx="13"/>
          </p:nvPr>
        </p:nvSpPr>
        <p:spPr>
          <a:xfrm>
            <a:off x="708862" y="744270"/>
            <a:ext cx="8375651" cy="276999"/>
          </a:xfrm>
        </p:spPr>
        <p:txBody>
          <a:bodyPr/>
          <a:lstStyle/>
          <a:p>
            <a:pPr lvl="0" defTabSz="894372">
              <a:buClr>
                <a:schemeClr val="tx2"/>
              </a:buClr>
            </a:pPr>
            <a:r>
              <a:rPr lang="it-IT" sz="1800" kern="0" dirty="0">
                <a:ea typeface="Arial Unicode MS" pitchFamily="34" charset="-128"/>
                <a:cs typeface="Arial Unicode MS" pitchFamily="34" charset="-128"/>
              </a:rPr>
              <a:t>Impianti del perimetro UT DOMO – OU PONTE</a:t>
            </a:r>
            <a:endParaRPr lang="en-US" sz="1800" kern="0" dirty="0">
              <a:ea typeface="Arial Unicode MS" pitchFamily="34" charset="-128"/>
              <a:cs typeface="Arial Unicode MS" pitchFamily="34" charset="-128"/>
            </a:endParaRPr>
          </a:p>
          <a:p>
            <a:endParaRPr lang="it-IT" sz="1800" dirty="0"/>
          </a:p>
        </p:txBody>
      </p:sp>
      <p:sp>
        <p:nvSpPr>
          <p:cNvPr id="31" name="Segnaposto numero diapositiva 1"/>
          <p:cNvSpPr>
            <a:spLocks noGrp="1"/>
          </p:cNvSpPr>
          <p:nvPr>
            <p:ph type="sldNum" sz="quarter" idx="12"/>
          </p:nvPr>
        </p:nvSpPr>
        <p:spPr>
          <a:xfrm>
            <a:off x="10664825" y="6264005"/>
            <a:ext cx="762000" cy="153888"/>
          </a:xfrm>
        </p:spPr>
        <p:txBody>
          <a:bodyPr/>
          <a:lstStyle/>
          <a:p>
            <a:fld id="{1ED2235E-0982-3B42-A838-A74550CD4449}" type="slidenum">
              <a:rPr lang="en-GB" smtClean="0"/>
              <a:pPr/>
              <a:t>3</a:t>
            </a:fld>
            <a:endParaRPr lang="en-GB" dirty="0"/>
          </a:p>
        </p:txBody>
      </p:sp>
      <p:pic>
        <p:nvPicPr>
          <p:cNvPr id="21" name="Immagin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950" y="266701"/>
            <a:ext cx="1286140" cy="936310"/>
          </a:xfrm>
          <a:prstGeom prst="rect">
            <a:avLst/>
          </a:prstGeom>
        </p:spPr>
      </p:pic>
      <p:sp>
        <p:nvSpPr>
          <p:cNvPr id="35" name="Rettangolo 34"/>
          <p:cNvSpPr/>
          <p:nvPr/>
        </p:nvSpPr>
        <p:spPr>
          <a:xfrm>
            <a:off x="393041" y="406859"/>
            <a:ext cx="215399" cy="688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pic>
        <p:nvPicPr>
          <p:cNvPr id="16" name="Immagine 15" descr="Immagine che contiene testo, mappa, atlante&#10;&#10;Il contenuto generato dall'IA potrebbe non essere corretto.">
            <a:extLst>
              <a:ext uri="{FF2B5EF4-FFF2-40B4-BE49-F238E27FC236}">
                <a16:creationId xmlns:a16="http://schemas.microsoft.com/office/drawing/2014/main" id="{60BA4965-EE24-6115-5211-21CC33E973CD}"/>
              </a:ext>
            </a:extLst>
          </p:cNvPr>
          <p:cNvPicPr>
            <a:picLocks noChangeAspect="1"/>
          </p:cNvPicPr>
          <p:nvPr/>
        </p:nvPicPr>
        <p:blipFill>
          <a:blip r:embed="rId4"/>
          <a:stretch>
            <a:fillRect/>
          </a:stretch>
        </p:blipFill>
        <p:spPr>
          <a:xfrm>
            <a:off x="6096000" y="1819656"/>
            <a:ext cx="5018410" cy="4160520"/>
          </a:xfrm>
          <a:prstGeom prst="rect">
            <a:avLst/>
          </a:prstGeom>
          <a:effectLst>
            <a:outerShdw blurRad="50800" dist="38100" dir="5400000" algn="t" rotWithShape="0">
              <a:prstClr val="black">
                <a:alpha val="64000"/>
              </a:prstClr>
            </a:outerShdw>
          </a:effectLst>
        </p:spPr>
      </p:pic>
      <p:sp>
        <p:nvSpPr>
          <p:cNvPr id="17" name="Figura a mano libera: forma 16">
            <a:extLst>
              <a:ext uri="{FF2B5EF4-FFF2-40B4-BE49-F238E27FC236}">
                <a16:creationId xmlns:a16="http://schemas.microsoft.com/office/drawing/2014/main" id="{54C3B9C8-9863-7488-29B7-745209209144}"/>
              </a:ext>
            </a:extLst>
          </p:cNvPr>
          <p:cNvSpPr/>
          <p:nvPr/>
        </p:nvSpPr>
        <p:spPr>
          <a:xfrm>
            <a:off x="6180708" y="1871512"/>
            <a:ext cx="4319171" cy="4131905"/>
          </a:xfrm>
          <a:custGeom>
            <a:avLst/>
            <a:gdLst>
              <a:gd name="csX0" fmla="*/ 704724 w 4319171"/>
              <a:gd name="csY0" fmla="*/ 286472 h 4131905"/>
              <a:gd name="csX1" fmla="*/ 636 w 4319171"/>
              <a:gd name="csY1" fmla="*/ 844256 h 4131905"/>
              <a:gd name="csX2" fmla="*/ 768732 w 4319171"/>
              <a:gd name="csY2" fmla="*/ 2270720 h 4131905"/>
              <a:gd name="csX3" fmla="*/ 1701420 w 4319171"/>
              <a:gd name="csY3" fmla="*/ 3111968 h 4131905"/>
              <a:gd name="csX4" fmla="*/ 1344804 w 4319171"/>
              <a:gd name="csY4" fmla="*/ 3852632 h 4131905"/>
              <a:gd name="csX5" fmla="*/ 1911732 w 4319171"/>
              <a:gd name="csY5" fmla="*/ 4062944 h 4131905"/>
              <a:gd name="csX6" fmla="*/ 3045588 w 4319171"/>
              <a:gd name="csY6" fmla="*/ 4053800 h 4131905"/>
              <a:gd name="csX7" fmla="*/ 2725548 w 4319171"/>
              <a:gd name="csY7" fmla="*/ 3157688 h 4131905"/>
              <a:gd name="csX8" fmla="*/ 4170300 w 4319171"/>
              <a:gd name="csY8" fmla="*/ 3020528 h 4131905"/>
              <a:gd name="csX9" fmla="*/ 3831972 w 4319171"/>
              <a:gd name="csY9" fmla="*/ 1063712 h 4131905"/>
              <a:gd name="csX10" fmla="*/ 4316604 w 4319171"/>
              <a:gd name="csY10" fmla="*/ 981416 h 4131905"/>
              <a:gd name="csX11" fmla="*/ 3575940 w 4319171"/>
              <a:gd name="csY11" fmla="*/ 30440 h 4131905"/>
              <a:gd name="csX12" fmla="*/ 704724 w 4319171"/>
              <a:gd name="csY12" fmla="*/ 286472 h 41319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4319171" h="4131905">
                <a:moveTo>
                  <a:pt x="704724" y="286472"/>
                </a:moveTo>
                <a:cubicBezTo>
                  <a:pt x="108840" y="422108"/>
                  <a:pt x="-10032" y="513548"/>
                  <a:pt x="636" y="844256"/>
                </a:cubicBezTo>
                <a:cubicBezTo>
                  <a:pt x="11304" y="1174964"/>
                  <a:pt x="485268" y="1892768"/>
                  <a:pt x="768732" y="2270720"/>
                </a:cubicBezTo>
                <a:cubicBezTo>
                  <a:pt x="1052196" y="2648672"/>
                  <a:pt x="1605408" y="2848316"/>
                  <a:pt x="1701420" y="3111968"/>
                </a:cubicBezTo>
                <a:cubicBezTo>
                  <a:pt x="1797432" y="3375620"/>
                  <a:pt x="1309752" y="3694136"/>
                  <a:pt x="1344804" y="3852632"/>
                </a:cubicBezTo>
                <a:cubicBezTo>
                  <a:pt x="1379856" y="4011128"/>
                  <a:pt x="1628268" y="4029416"/>
                  <a:pt x="1911732" y="4062944"/>
                </a:cubicBezTo>
                <a:cubicBezTo>
                  <a:pt x="2195196" y="4096472"/>
                  <a:pt x="2909952" y="4204676"/>
                  <a:pt x="3045588" y="4053800"/>
                </a:cubicBezTo>
                <a:cubicBezTo>
                  <a:pt x="3181224" y="3902924"/>
                  <a:pt x="2538096" y="3329900"/>
                  <a:pt x="2725548" y="3157688"/>
                </a:cubicBezTo>
                <a:cubicBezTo>
                  <a:pt x="2913000" y="2985476"/>
                  <a:pt x="3985896" y="3369524"/>
                  <a:pt x="4170300" y="3020528"/>
                </a:cubicBezTo>
                <a:cubicBezTo>
                  <a:pt x="4354704" y="2671532"/>
                  <a:pt x="3807588" y="1403564"/>
                  <a:pt x="3831972" y="1063712"/>
                </a:cubicBezTo>
                <a:cubicBezTo>
                  <a:pt x="3856356" y="723860"/>
                  <a:pt x="4359276" y="1153628"/>
                  <a:pt x="4316604" y="981416"/>
                </a:cubicBezTo>
                <a:cubicBezTo>
                  <a:pt x="4273932" y="809204"/>
                  <a:pt x="4176396" y="144740"/>
                  <a:pt x="3575940" y="30440"/>
                </a:cubicBezTo>
                <a:cubicBezTo>
                  <a:pt x="2975484" y="-83860"/>
                  <a:pt x="1300608" y="150836"/>
                  <a:pt x="704724" y="286472"/>
                </a:cubicBezTo>
                <a:close/>
              </a:path>
            </a:pathLst>
          </a:cu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grpSp>
        <p:nvGrpSpPr>
          <p:cNvPr id="4" name="Gruppo 3">
            <a:extLst>
              <a:ext uri="{FF2B5EF4-FFF2-40B4-BE49-F238E27FC236}">
                <a16:creationId xmlns:a16="http://schemas.microsoft.com/office/drawing/2014/main" id="{1DB3DD9E-BEF7-8996-6527-2B036C1DBC47}"/>
              </a:ext>
            </a:extLst>
          </p:cNvPr>
          <p:cNvGrpSpPr/>
          <p:nvPr/>
        </p:nvGrpSpPr>
        <p:grpSpPr>
          <a:xfrm>
            <a:off x="3110810" y="1105269"/>
            <a:ext cx="2832752" cy="1684316"/>
            <a:chOff x="3066306" y="2107984"/>
            <a:chExt cx="2832752" cy="1684316"/>
          </a:xfrm>
        </p:grpSpPr>
        <p:sp>
          <p:nvSpPr>
            <p:cNvPr id="14" name="Rettangolo 13">
              <a:extLst>
                <a:ext uri="{FF2B5EF4-FFF2-40B4-BE49-F238E27FC236}">
                  <a16:creationId xmlns:a16="http://schemas.microsoft.com/office/drawing/2014/main" id="{6ED89D44-AC09-1602-0553-47EBB9C225B8}"/>
                </a:ext>
              </a:extLst>
            </p:cNvPr>
            <p:cNvSpPr/>
            <p:nvPr/>
          </p:nvSpPr>
          <p:spPr>
            <a:xfrm>
              <a:off x="3147349" y="2255601"/>
              <a:ext cx="2728111" cy="1338828"/>
            </a:xfrm>
            <a:prstGeom prst="rect">
              <a:avLst/>
            </a:prstGeom>
          </p:spPr>
          <p:txBody>
            <a:bodyPr wrap="square">
              <a:spAutoFit/>
            </a:bodyPr>
            <a:lstStyle/>
            <a:p>
              <a:pPr>
                <a:spcAft>
                  <a:spcPts val="600"/>
                </a:spcAft>
              </a:pPr>
              <a:r>
                <a:rPr lang="it-IT" sz="1400" dirty="0"/>
                <a:t>4 CENTRALI DI PRODUZIONE</a:t>
              </a:r>
            </a:p>
            <a:p>
              <a:pPr marL="671505" lvl="1" indent="-214305">
                <a:spcBef>
                  <a:spcPts val="600"/>
                </a:spcBef>
                <a:buFont typeface="Wingdings" panose="05000000000000000000" pitchFamily="2" charset="2"/>
                <a:buChar char="ü"/>
              </a:pPr>
              <a:r>
                <a:rPr lang="it-IT" sz="1050" dirty="0"/>
                <a:t>MORASCO (in caverna)</a:t>
              </a:r>
            </a:p>
            <a:p>
              <a:pPr marL="671505" lvl="1" indent="-214305">
                <a:spcBef>
                  <a:spcPts val="600"/>
                </a:spcBef>
                <a:buFont typeface="Wingdings" panose="05000000000000000000" pitchFamily="2" charset="2"/>
                <a:buChar char="ü"/>
              </a:pPr>
              <a:r>
                <a:rPr lang="it-IT" sz="1050" dirty="0"/>
                <a:t>PONTE</a:t>
              </a:r>
            </a:p>
            <a:p>
              <a:pPr marL="671505" lvl="1" indent="-214305">
                <a:spcBef>
                  <a:spcPts val="600"/>
                </a:spcBef>
                <a:buFont typeface="Wingdings" panose="05000000000000000000" pitchFamily="2" charset="2"/>
                <a:buChar char="ü"/>
              </a:pPr>
              <a:r>
                <a:rPr lang="it-IT" sz="1050" dirty="0"/>
                <a:t>FONDOVALLE</a:t>
              </a:r>
            </a:p>
            <a:p>
              <a:pPr marL="671505" lvl="1" indent="-214305">
                <a:spcBef>
                  <a:spcPts val="600"/>
                </a:spcBef>
                <a:buFont typeface="Wingdings" panose="05000000000000000000" pitchFamily="2" charset="2"/>
                <a:buChar char="ü"/>
              </a:pPr>
              <a:r>
                <a:rPr lang="it-IT" sz="1050" dirty="0"/>
                <a:t>CADARESE</a:t>
              </a:r>
            </a:p>
          </p:txBody>
        </p:sp>
        <p:sp>
          <p:nvSpPr>
            <p:cNvPr id="3" name="Rettangolo con angoli arrotondati 2">
              <a:extLst>
                <a:ext uri="{FF2B5EF4-FFF2-40B4-BE49-F238E27FC236}">
                  <a16:creationId xmlns:a16="http://schemas.microsoft.com/office/drawing/2014/main" id="{5B5C99D2-6C92-A966-8BAB-3F69941538D5}"/>
                </a:ext>
              </a:extLst>
            </p:cNvPr>
            <p:cNvSpPr/>
            <p:nvPr/>
          </p:nvSpPr>
          <p:spPr>
            <a:xfrm>
              <a:off x="3066306" y="2107984"/>
              <a:ext cx="2832752" cy="1684316"/>
            </a:xfrm>
            <a:prstGeom prst="roundRect">
              <a:avLst/>
            </a:prstGeom>
            <a:solidFill>
              <a:srgbClr val="FFC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grpSp>
      <p:sp>
        <p:nvSpPr>
          <p:cNvPr id="13" name="Rettangolo 12">
            <a:extLst>
              <a:ext uri="{FF2B5EF4-FFF2-40B4-BE49-F238E27FC236}">
                <a16:creationId xmlns:a16="http://schemas.microsoft.com/office/drawing/2014/main" id="{0BC120F8-0C62-ACC2-64DF-DE4354DA77E0}"/>
              </a:ext>
            </a:extLst>
          </p:cNvPr>
          <p:cNvSpPr/>
          <p:nvPr/>
        </p:nvSpPr>
        <p:spPr>
          <a:xfrm>
            <a:off x="327180" y="1212230"/>
            <a:ext cx="2450743" cy="1577355"/>
          </a:xfrm>
          <a:prstGeom prst="rect">
            <a:avLst/>
          </a:prstGeom>
        </p:spPr>
        <p:txBody>
          <a:bodyPr wrap="square">
            <a:spAutoFit/>
          </a:bodyPr>
          <a:lstStyle/>
          <a:p>
            <a:pPr>
              <a:spcAft>
                <a:spcPts val="600"/>
              </a:spcAft>
            </a:pPr>
            <a:r>
              <a:rPr lang="it-IT" sz="1400" dirty="0"/>
              <a:t>5 GRANDI DIGHE </a:t>
            </a:r>
          </a:p>
          <a:p>
            <a:pPr marL="671505" lvl="1" indent="-214305">
              <a:spcBef>
                <a:spcPts val="600"/>
              </a:spcBef>
              <a:buFont typeface="Wingdings" panose="05000000000000000000" pitchFamily="2" charset="2"/>
              <a:buChar char="ü"/>
            </a:pPr>
            <a:r>
              <a:rPr lang="it-IT" sz="1050" dirty="0"/>
              <a:t>DIGA SABBIONE </a:t>
            </a:r>
          </a:p>
          <a:p>
            <a:pPr marL="671505" lvl="1" indent="-214305">
              <a:spcBef>
                <a:spcPts val="600"/>
              </a:spcBef>
              <a:buFont typeface="Wingdings" panose="05000000000000000000" pitchFamily="2" charset="2"/>
              <a:buChar char="ü"/>
            </a:pPr>
            <a:r>
              <a:rPr lang="it-IT" sz="1050" dirty="0"/>
              <a:t>DIGA MORASCO</a:t>
            </a:r>
          </a:p>
          <a:p>
            <a:pPr marL="671505" lvl="1" indent="-214305">
              <a:spcBef>
                <a:spcPts val="600"/>
              </a:spcBef>
              <a:buFont typeface="Wingdings" panose="05000000000000000000" pitchFamily="2" charset="2"/>
              <a:buChar char="ü"/>
            </a:pPr>
            <a:r>
              <a:rPr lang="it-IT" sz="1050" dirty="0"/>
              <a:t>DIGA TOGGIA</a:t>
            </a:r>
          </a:p>
          <a:p>
            <a:pPr marL="671505" lvl="1" indent="-214305">
              <a:spcBef>
                <a:spcPts val="600"/>
              </a:spcBef>
              <a:buFont typeface="Wingdings" panose="05000000000000000000" pitchFamily="2" charset="2"/>
              <a:buChar char="ü"/>
            </a:pPr>
            <a:r>
              <a:rPr lang="it-IT" sz="1050" dirty="0"/>
              <a:t>DIGA VANNINO</a:t>
            </a:r>
          </a:p>
          <a:p>
            <a:pPr marL="671505" lvl="1" indent="-214305">
              <a:spcBef>
                <a:spcPts val="600"/>
              </a:spcBef>
              <a:buFont typeface="Wingdings" panose="05000000000000000000" pitchFamily="2" charset="2"/>
              <a:buChar char="ü"/>
            </a:pPr>
            <a:r>
              <a:rPr lang="it-IT" sz="1050" dirty="0"/>
              <a:t>DIGA BUSIN (solo estiva)</a:t>
            </a:r>
          </a:p>
        </p:txBody>
      </p:sp>
      <p:sp>
        <p:nvSpPr>
          <p:cNvPr id="2" name="Rettangolo con angoli arrotondati 1">
            <a:extLst>
              <a:ext uri="{FF2B5EF4-FFF2-40B4-BE49-F238E27FC236}">
                <a16:creationId xmlns:a16="http://schemas.microsoft.com/office/drawing/2014/main" id="{3B53401D-F816-64DD-387B-86B4F1406FF3}"/>
              </a:ext>
            </a:extLst>
          </p:cNvPr>
          <p:cNvSpPr/>
          <p:nvPr/>
        </p:nvSpPr>
        <p:spPr>
          <a:xfrm>
            <a:off x="129945" y="1116749"/>
            <a:ext cx="2832752" cy="1684316"/>
          </a:xfrm>
          <a:prstGeom prst="round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Tree>
    <p:extLst>
      <p:ext uri="{BB962C8B-B14F-4D97-AF65-F5344CB8AC3E}">
        <p14:creationId xmlns:p14="http://schemas.microsoft.com/office/powerpoint/2010/main" val="4177291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B787A-06B5-A5DB-585A-23B388CEECF6}"/>
            </a:ext>
          </a:extLst>
        </p:cNvPr>
        <p:cNvGrpSpPr/>
        <p:nvPr/>
      </p:nvGrpSpPr>
      <p:grpSpPr>
        <a:xfrm>
          <a:off x="0" y="0"/>
          <a:ext cx="0" cy="0"/>
          <a:chOff x="0" y="0"/>
          <a:chExt cx="0" cy="0"/>
        </a:xfrm>
      </p:grpSpPr>
      <p:sp>
        <p:nvSpPr>
          <p:cNvPr id="7" name="Titolo 6">
            <a:extLst>
              <a:ext uri="{FF2B5EF4-FFF2-40B4-BE49-F238E27FC236}">
                <a16:creationId xmlns:a16="http://schemas.microsoft.com/office/drawing/2014/main" id="{F8ABCFE3-8541-8183-F0D0-C30E4B15B0B7}"/>
              </a:ext>
            </a:extLst>
          </p:cNvPr>
          <p:cNvSpPr>
            <a:spLocks noGrp="1"/>
          </p:cNvSpPr>
          <p:nvPr>
            <p:ph type="title"/>
          </p:nvPr>
        </p:nvSpPr>
        <p:spPr>
          <a:xfrm>
            <a:off x="691422" y="405576"/>
            <a:ext cx="8375651" cy="394980"/>
          </a:xfrm>
        </p:spPr>
        <p:txBody>
          <a:bodyPr/>
          <a:lstStyle/>
          <a:p>
            <a:r>
              <a:rPr lang="it-IT" dirty="0"/>
              <a:t>ANW – UT DOMO</a:t>
            </a:r>
          </a:p>
        </p:txBody>
      </p:sp>
      <p:sp>
        <p:nvSpPr>
          <p:cNvPr id="8" name="Segnaposto testo 7">
            <a:extLst>
              <a:ext uri="{FF2B5EF4-FFF2-40B4-BE49-F238E27FC236}">
                <a16:creationId xmlns:a16="http://schemas.microsoft.com/office/drawing/2014/main" id="{60F96DBB-C2E5-3E60-25AF-1F01A4971302}"/>
              </a:ext>
            </a:extLst>
          </p:cNvPr>
          <p:cNvSpPr>
            <a:spLocks noGrp="1"/>
          </p:cNvSpPr>
          <p:nvPr>
            <p:ph type="body" sz="quarter" idx="13"/>
          </p:nvPr>
        </p:nvSpPr>
        <p:spPr>
          <a:xfrm>
            <a:off x="708862" y="744270"/>
            <a:ext cx="8375651" cy="276999"/>
          </a:xfrm>
        </p:spPr>
        <p:txBody>
          <a:bodyPr/>
          <a:lstStyle/>
          <a:p>
            <a:pPr lvl="0" defTabSz="894372">
              <a:buClr>
                <a:schemeClr val="tx2"/>
              </a:buClr>
            </a:pPr>
            <a:r>
              <a:rPr lang="it-IT" sz="1800" kern="0" dirty="0">
                <a:ea typeface="Arial Unicode MS" pitchFamily="34" charset="-128"/>
                <a:cs typeface="Arial Unicode MS" pitchFamily="34" charset="-128"/>
              </a:rPr>
              <a:t>Impianti del perimetro UT DOMO – OU VERAMPIO</a:t>
            </a:r>
            <a:endParaRPr lang="en-US" sz="1800" kern="0" dirty="0">
              <a:ea typeface="Arial Unicode MS" pitchFamily="34" charset="-128"/>
              <a:cs typeface="Arial Unicode MS" pitchFamily="34" charset="-128"/>
            </a:endParaRPr>
          </a:p>
          <a:p>
            <a:endParaRPr lang="it-IT" sz="1800" dirty="0"/>
          </a:p>
        </p:txBody>
      </p:sp>
      <p:sp>
        <p:nvSpPr>
          <p:cNvPr id="31" name="Segnaposto numero diapositiva 1">
            <a:extLst>
              <a:ext uri="{FF2B5EF4-FFF2-40B4-BE49-F238E27FC236}">
                <a16:creationId xmlns:a16="http://schemas.microsoft.com/office/drawing/2014/main" id="{44E8354B-01A1-76B6-9421-309FA8B4DFDF}"/>
              </a:ext>
            </a:extLst>
          </p:cNvPr>
          <p:cNvSpPr>
            <a:spLocks noGrp="1"/>
          </p:cNvSpPr>
          <p:nvPr>
            <p:ph type="sldNum" sz="quarter" idx="12"/>
          </p:nvPr>
        </p:nvSpPr>
        <p:spPr>
          <a:xfrm>
            <a:off x="10664825" y="6264005"/>
            <a:ext cx="762000" cy="153888"/>
          </a:xfrm>
        </p:spPr>
        <p:txBody>
          <a:bodyPr/>
          <a:lstStyle/>
          <a:p>
            <a:fld id="{1ED2235E-0982-3B42-A838-A74550CD4449}" type="slidenum">
              <a:rPr lang="en-GB" smtClean="0"/>
              <a:pPr/>
              <a:t>4</a:t>
            </a:fld>
            <a:endParaRPr lang="en-GB" dirty="0"/>
          </a:p>
        </p:txBody>
      </p:sp>
      <p:pic>
        <p:nvPicPr>
          <p:cNvPr id="21" name="Immagine 20">
            <a:extLst>
              <a:ext uri="{FF2B5EF4-FFF2-40B4-BE49-F238E27FC236}">
                <a16:creationId xmlns:a16="http://schemas.microsoft.com/office/drawing/2014/main" id="{506692D6-8E55-2C2B-C383-51D2276A21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950" y="266701"/>
            <a:ext cx="1286140" cy="936310"/>
          </a:xfrm>
          <a:prstGeom prst="rect">
            <a:avLst/>
          </a:prstGeom>
        </p:spPr>
      </p:pic>
      <p:sp>
        <p:nvSpPr>
          <p:cNvPr id="35" name="Rettangolo 34">
            <a:extLst>
              <a:ext uri="{FF2B5EF4-FFF2-40B4-BE49-F238E27FC236}">
                <a16:creationId xmlns:a16="http://schemas.microsoft.com/office/drawing/2014/main" id="{39EB2768-2539-81E3-5E16-19CB0296FBDA}"/>
              </a:ext>
            </a:extLst>
          </p:cNvPr>
          <p:cNvSpPr/>
          <p:nvPr/>
        </p:nvSpPr>
        <p:spPr>
          <a:xfrm>
            <a:off x="393041" y="406859"/>
            <a:ext cx="215399" cy="688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pic>
        <p:nvPicPr>
          <p:cNvPr id="4" name="Immagine 3" descr="Immagine che contiene mappa, testo, atlante&#10;&#10;Il contenuto generato dall'IA potrebbe non essere corretto.">
            <a:extLst>
              <a:ext uri="{FF2B5EF4-FFF2-40B4-BE49-F238E27FC236}">
                <a16:creationId xmlns:a16="http://schemas.microsoft.com/office/drawing/2014/main" id="{B51E2226-7B41-4F7C-B578-33EC22698D88}"/>
              </a:ext>
            </a:extLst>
          </p:cNvPr>
          <p:cNvPicPr>
            <a:picLocks noChangeAspect="1"/>
          </p:cNvPicPr>
          <p:nvPr/>
        </p:nvPicPr>
        <p:blipFill>
          <a:blip r:embed="rId4"/>
          <a:stretch>
            <a:fillRect/>
          </a:stretch>
        </p:blipFill>
        <p:spPr>
          <a:xfrm>
            <a:off x="6096000" y="1680580"/>
            <a:ext cx="5212983" cy="4293396"/>
          </a:xfrm>
          <a:prstGeom prst="rect">
            <a:avLst/>
          </a:prstGeom>
          <a:effectLst>
            <a:outerShdw blurRad="50800" dist="38100" dir="5400000" algn="t" rotWithShape="0">
              <a:prstClr val="black">
                <a:alpha val="64000"/>
              </a:prstClr>
            </a:outerShdw>
          </a:effectLst>
        </p:spPr>
      </p:pic>
      <p:sp>
        <p:nvSpPr>
          <p:cNvPr id="5" name="Figura a mano libera: forma 4">
            <a:extLst>
              <a:ext uri="{FF2B5EF4-FFF2-40B4-BE49-F238E27FC236}">
                <a16:creationId xmlns:a16="http://schemas.microsoft.com/office/drawing/2014/main" id="{C6B49302-D3A5-6C5F-393A-04CC47F23ED0}"/>
              </a:ext>
            </a:extLst>
          </p:cNvPr>
          <p:cNvSpPr/>
          <p:nvPr/>
        </p:nvSpPr>
        <p:spPr>
          <a:xfrm>
            <a:off x="7094663" y="2141078"/>
            <a:ext cx="3098745" cy="2808268"/>
          </a:xfrm>
          <a:custGeom>
            <a:avLst/>
            <a:gdLst>
              <a:gd name="csX0" fmla="*/ 1491553 w 3098745"/>
              <a:gd name="csY0" fmla="*/ 108346 h 2808268"/>
              <a:gd name="csX1" fmla="*/ 485713 w 3098745"/>
              <a:gd name="csY1" fmla="*/ 144922 h 2808268"/>
              <a:gd name="csX2" fmla="*/ 19369 w 3098745"/>
              <a:gd name="csY2" fmla="*/ 1617106 h 2808268"/>
              <a:gd name="csX3" fmla="*/ 1098361 w 3098745"/>
              <a:gd name="csY3" fmla="*/ 2714386 h 2808268"/>
              <a:gd name="csX4" fmla="*/ 2195641 w 3098745"/>
              <a:gd name="csY4" fmla="*/ 2741818 h 2808268"/>
              <a:gd name="csX5" fmla="*/ 2945449 w 3098745"/>
              <a:gd name="csY5" fmla="*/ 2650378 h 2808268"/>
              <a:gd name="csX6" fmla="*/ 3000313 w 3098745"/>
              <a:gd name="csY6" fmla="*/ 1516522 h 2808268"/>
              <a:gd name="csX7" fmla="*/ 1848169 w 3098745"/>
              <a:gd name="csY7" fmla="*/ 1516522 h 2808268"/>
              <a:gd name="csX8" fmla="*/ 2104201 w 3098745"/>
              <a:gd name="csY8" fmla="*/ 620410 h 2808268"/>
              <a:gd name="csX9" fmla="*/ 1491553 w 3098745"/>
              <a:gd name="csY9" fmla="*/ 108346 h 28082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098745" h="2808268">
                <a:moveTo>
                  <a:pt x="1491553" y="108346"/>
                </a:moveTo>
                <a:cubicBezTo>
                  <a:pt x="1221805" y="29098"/>
                  <a:pt x="731077" y="-106538"/>
                  <a:pt x="485713" y="144922"/>
                </a:cubicBezTo>
                <a:cubicBezTo>
                  <a:pt x="240349" y="396382"/>
                  <a:pt x="-82739" y="1188862"/>
                  <a:pt x="19369" y="1617106"/>
                </a:cubicBezTo>
                <a:cubicBezTo>
                  <a:pt x="121477" y="2045350"/>
                  <a:pt x="735649" y="2526934"/>
                  <a:pt x="1098361" y="2714386"/>
                </a:cubicBezTo>
                <a:cubicBezTo>
                  <a:pt x="1461073" y="2901838"/>
                  <a:pt x="1887793" y="2752486"/>
                  <a:pt x="2195641" y="2741818"/>
                </a:cubicBezTo>
                <a:cubicBezTo>
                  <a:pt x="2503489" y="2731150"/>
                  <a:pt x="2811337" y="2854594"/>
                  <a:pt x="2945449" y="2650378"/>
                </a:cubicBezTo>
                <a:cubicBezTo>
                  <a:pt x="3079561" y="2446162"/>
                  <a:pt x="3183193" y="1705498"/>
                  <a:pt x="3000313" y="1516522"/>
                </a:cubicBezTo>
                <a:cubicBezTo>
                  <a:pt x="2817433" y="1327546"/>
                  <a:pt x="1997521" y="1665874"/>
                  <a:pt x="1848169" y="1516522"/>
                </a:cubicBezTo>
                <a:cubicBezTo>
                  <a:pt x="1698817" y="1367170"/>
                  <a:pt x="2162113" y="853582"/>
                  <a:pt x="2104201" y="620410"/>
                </a:cubicBezTo>
                <a:cubicBezTo>
                  <a:pt x="2046289" y="387238"/>
                  <a:pt x="1761301" y="187594"/>
                  <a:pt x="1491553" y="108346"/>
                </a:cubicBezTo>
                <a:close/>
              </a:path>
            </a:pathLst>
          </a:cu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6" name="CasellaDiTesto 5">
            <a:extLst>
              <a:ext uri="{FF2B5EF4-FFF2-40B4-BE49-F238E27FC236}">
                <a16:creationId xmlns:a16="http://schemas.microsoft.com/office/drawing/2014/main" id="{39B29D9A-14C5-9DB9-9F93-5D7FA65DD24D}"/>
              </a:ext>
            </a:extLst>
          </p:cNvPr>
          <p:cNvSpPr txBox="1"/>
          <p:nvPr/>
        </p:nvSpPr>
        <p:spPr>
          <a:xfrm>
            <a:off x="259407" y="2896546"/>
            <a:ext cx="5727829" cy="3724096"/>
          </a:xfrm>
          <a:prstGeom prst="rect">
            <a:avLst/>
          </a:prstGeom>
          <a:noFill/>
        </p:spPr>
        <p:txBody>
          <a:bodyPr wrap="square" lIns="0" tIns="0" rIns="0" bIns="0" rtlCol="0">
            <a:spAutoFit/>
          </a:bodyPr>
          <a:lstStyle/>
          <a:p>
            <a:pPr>
              <a:buNone/>
            </a:pPr>
            <a:r>
              <a:rPr lang="it-IT" sz="1100" dirty="0"/>
              <a:t>Il reparto operativo di Verampio gestisce un sistema di produzione idroelettrica, caratterizzato da una gestione che si snoda su due diverse direttrici idrauliche e che vanta un patrimonio architettonico d’eccezione firmato da Piero Portaluppi.</a:t>
            </a:r>
          </a:p>
          <a:p>
            <a:pPr>
              <a:buNone/>
            </a:pPr>
            <a:r>
              <a:rPr lang="it-IT" sz="1100" dirty="0"/>
              <a:t>A differenza dell'unità di Ponte, il perimetro di Verampio si articola su due aste ben distinte. La prima è l’asta del torrente Devero, un sistema a cascata che inizia ad alta quota con la diga di </a:t>
            </a:r>
            <a:r>
              <a:rPr lang="it-IT" sz="1100" dirty="0" err="1"/>
              <a:t>Codelago</a:t>
            </a:r>
            <a:r>
              <a:rPr lang="it-IT" sz="1100" dirty="0"/>
              <a:t> (1800 m s.l.m. circa). Le acque raccolte in questa diga alimentano la centrale di Devero che, una volta turbinate, vengono recuperate da una presa sussidiaria per alimentare il primo gruppo della centrale di Goglio. Il secondo gruppo di quest'ultima è invece alimentato in modo indipendente dalla diga di Agaro. L'intero scarico di Goglio viene infine convogliato verso la centrale di Verampio, situata nel comune di Crodo; questo impianto non è solo un fulcro produttivo, ma un vero capolavoro architettonico per i suoi fregi e le sue linee monumentali.</a:t>
            </a:r>
          </a:p>
          <a:p>
            <a:pPr>
              <a:buNone/>
            </a:pPr>
            <a:r>
              <a:rPr lang="it-IT" sz="1100" dirty="0"/>
              <a:t>La seconda direttrice è l’asta del Toce, che opera in diretta continuità con gli impianti dell'unità di Ponte. Qui, la centrale di Crego (anch'essa opera di pregio del Portaluppi) sfrutta le acque della traversa di Piedilago, situata pochi chilometri a valle della centrale di Cadarese. A completare il quadro produttivo si aggiunge la centrale Antolina, una derivazione minore sita interamente nel territorio di Crodo.</a:t>
            </a:r>
          </a:p>
          <a:p>
            <a:pPr>
              <a:buNone/>
            </a:pPr>
            <a:r>
              <a:rPr lang="it-IT" sz="1100" dirty="0"/>
              <a:t>Il sistema trova la sua sintesi geografica e idraulica nella traversa regionale di Braccio. Posizionata subito a valle delle due centrali storiche del Portaluppi, questa struttura raccoglie e unifica i flussi provenienti sia dall'asta del Devero che da quella del Toce, agendo come snodo vitale per l’intera </a:t>
            </a:r>
            <a:r>
              <a:rPr lang="it-IT" sz="1100" dirty="0" err="1"/>
              <a:t>iidroelettrica</a:t>
            </a:r>
            <a:r>
              <a:rPr lang="it-IT" sz="1100" dirty="0"/>
              <a:t> dell’Alta Valle Ossola.</a:t>
            </a:r>
          </a:p>
          <a:p>
            <a:pPr algn="just">
              <a:buNone/>
            </a:pPr>
            <a:r>
              <a:rPr lang="it-IT" sz="1100" dirty="0"/>
              <a:t>  </a:t>
            </a:r>
          </a:p>
        </p:txBody>
      </p:sp>
      <p:sp>
        <p:nvSpPr>
          <p:cNvPr id="16" name="Rettangolo 15">
            <a:extLst>
              <a:ext uri="{FF2B5EF4-FFF2-40B4-BE49-F238E27FC236}">
                <a16:creationId xmlns:a16="http://schemas.microsoft.com/office/drawing/2014/main" id="{B09BD122-2D42-B13D-D7F2-E2D2F10E6E26}"/>
              </a:ext>
            </a:extLst>
          </p:cNvPr>
          <p:cNvSpPr/>
          <p:nvPr/>
        </p:nvSpPr>
        <p:spPr>
          <a:xfrm>
            <a:off x="327180" y="1212230"/>
            <a:ext cx="2450743" cy="861774"/>
          </a:xfrm>
          <a:prstGeom prst="rect">
            <a:avLst/>
          </a:prstGeom>
        </p:spPr>
        <p:txBody>
          <a:bodyPr wrap="square">
            <a:spAutoFit/>
          </a:bodyPr>
          <a:lstStyle/>
          <a:p>
            <a:pPr>
              <a:spcAft>
                <a:spcPts val="600"/>
              </a:spcAft>
            </a:pPr>
            <a:r>
              <a:rPr lang="it-IT" sz="1400" dirty="0"/>
              <a:t>2 GRANDI DIGHE </a:t>
            </a:r>
          </a:p>
          <a:p>
            <a:pPr marL="671505" lvl="1" indent="-214305">
              <a:spcBef>
                <a:spcPts val="600"/>
              </a:spcBef>
              <a:buFont typeface="Wingdings" panose="05000000000000000000" pitchFamily="2" charset="2"/>
              <a:buChar char="ü"/>
            </a:pPr>
            <a:r>
              <a:rPr lang="it-IT" sz="1050" dirty="0"/>
              <a:t>DIGA CODELAGO </a:t>
            </a:r>
          </a:p>
          <a:p>
            <a:pPr marL="671505" lvl="1" indent="-214305">
              <a:spcBef>
                <a:spcPts val="600"/>
              </a:spcBef>
              <a:buFont typeface="Wingdings" panose="05000000000000000000" pitchFamily="2" charset="2"/>
              <a:buChar char="ü"/>
            </a:pPr>
            <a:r>
              <a:rPr lang="it-IT" sz="1050" dirty="0"/>
              <a:t>DIGA AGARO</a:t>
            </a:r>
          </a:p>
        </p:txBody>
      </p:sp>
      <p:sp>
        <p:nvSpPr>
          <p:cNvPr id="17" name="Rettangolo con angoli arrotondati 16">
            <a:extLst>
              <a:ext uri="{FF2B5EF4-FFF2-40B4-BE49-F238E27FC236}">
                <a16:creationId xmlns:a16="http://schemas.microsoft.com/office/drawing/2014/main" id="{053FACD3-F005-F789-DCDE-F5162A01161C}"/>
              </a:ext>
            </a:extLst>
          </p:cNvPr>
          <p:cNvSpPr/>
          <p:nvPr/>
        </p:nvSpPr>
        <p:spPr>
          <a:xfrm>
            <a:off x="136175" y="1139250"/>
            <a:ext cx="2641748" cy="1119318"/>
          </a:xfrm>
          <a:prstGeom prst="round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18" name="Rettangolo 17">
            <a:extLst>
              <a:ext uri="{FF2B5EF4-FFF2-40B4-BE49-F238E27FC236}">
                <a16:creationId xmlns:a16="http://schemas.microsoft.com/office/drawing/2014/main" id="{4DE449D7-37F9-A553-2962-8963B3E9528C}"/>
              </a:ext>
            </a:extLst>
          </p:cNvPr>
          <p:cNvSpPr/>
          <p:nvPr/>
        </p:nvSpPr>
        <p:spPr>
          <a:xfrm>
            <a:off x="3072906" y="1094915"/>
            <a:ext cx="2728111" cy="1577355"/>
          </a:xfrm>
          <a:prstGeom prst="rect">
            <a:avLst/>
          </a:prstGeom>
        </p:spPr>
        <p:txBody>
          <a:bodyPr wrap="square">
            <a:spAutoFit/>
          </a:bodyPr>
          <a:lstStyle/>
          <a:p>
            <a:pPr>
              <a:spcAft>
                <a:spcPts val="600"/>
              </a:spcAft>
            </a:pPr>
            <a:r>
              <a:rPr lang="it-IT" sz="1400" dirty="0"/>
              <a:t>4 CENTRALI DI PRODUZIONE</a:t>
            </a:r>
          </a:p>
          <a:p>
            <a:pPr marL="671505" lvl="1" indent="-214305">
              <a:spcBef>
                <a:spcPts val="600"/>
              </a:spcBef>
              <a:buFont typeface="Wingdings" panose="05000000000000000000" pitchFamily="2" charset="2"/>
              <a:buChar char="ü"/>
            </a:pPr>
            <a:r>
              <a:rPr lang="it-IT" sz="1050" dirty="0"/>
              <a:t>DEVERO </a:t>
            </a:r>
          </a:p>
          <a:p>
            <a:pPr marL="671505" lvl="1" indent="-214305">
              <a:spcBef>
                <a:spcPts val="600"/>
              </a:spcBef>
              <a:buFont typeface="Wingdings" panose="05000000000000000000" pitchFamily="2" charset="2"/>
              <a:buChar char="ü"/>
            </a:pPr>
            <a:r>
              <a:rPr lang="it-IT" sz="1050" dirty="0"/>
              <a:t>GOGLIO</a:t>
            </a:r>
          </a:p>
          <a:p>
            <a:pPr marL="671505" lvl="1" indent="-214305">
              <a:spcBef>
                <a:spcPts val="600"/>
              </a:spcBef>
              <a:buFont typeface="Wingdings" panose="05000000000000000000" pitchFamily="2" charset="2"/>
              <a:buChar char="ü"/>
            </a:pPr>
            <a:r>
              <a:rPr lang="it-IT" sz="1050" dirty="0"/>
              <a:t>VERAMPIO</a:t>
            </a:r>
          </a:p>
          <a:p>
            <a:pPr marL="671505" lvl="1" indent="-214305">
              <a:spcBef>
                <a:spcPts val="600"/>
              </a:spcBef>
              <a:buFont typeface="Wingdings" panose="05000000000000000000" pitchFamily="2" charset="2"/>
              <a:buChar char="ü"/>
            </a:pPr>
            <a:r>
              <a:rPr lang="it-IT" sz="1050" dirty="0"/>
              <a:t>CREGO </a:t>
            </a:r>
          </a:p>
          <a:p>
            <a:pPr marL="671505" lvl="1" indent="-214305">
              <a:spcBef>
                <a:spcPts val="600"/>
              </a:spcBef>
              <a:buFont typeface="Wingdings" panose="05000000000000000000" pitchFamily="2" charset="2"/>
              <a:buChar char="ü"/>
            </a:pPr>
            <a:r>
              <a:rPr lang="it-IT" sz="1050" dirty="0"/>
              <a:t>ANTOLINA</a:t>
            </a:r>
          </a:p>
        </p:txBody>
      </p:sp>
      <p:sp>
        <p:nvSpPr>
          <p:cNvPr id="19" name="Rettangolo con angoli arrotondati 18">
            <a:extLst>
              <a:ext uri="{FF2B5EF4-FFF2-40B4-BE49-F238E27FC236}">
                <a16:creationId xmlns:a16="http://schemas.microsoft.com/office/drawing/2014/main" id="{9AAEC345-92B4-D867-0802-1D48E56E4D90}"/>
              </a:ext>
            </a:extLst>
          </p:cNvPr>
          <p:cNvSpPr/>
          <p:nvPr/>
        </p:nvSpPr>
        <p:spPr>
          <a:xfrm>
            <a:off x="3020585" y="1116749"/>
            <a:ext cx="2832752" cy="1684316"/>
          </a:xfrm>
          <a:prstGeom prst="roundRect">
            <a:avLst/>
          </a:prstGeom>
          <a:solidFill>
            <a:srgbClr val="FFC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Tree>
    <p:extLst>
      <p:ext uri="{BB962C8B-B14F-4D97-AF65-F5344CB8AC3E}">
        <p14:creationId xmlns:p14="http://schemas.microsoft.com/office/powerpoint/2010/main" val="690926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5917-195F-2C65-A53C-41ADFF321FF5}"/>
            </a:ext>
          </a:extLst>
        </p:cNvPr>
        <p:cNvGrpSpPr/>
        <p:nvPr/>
      </p:nvGrpSpPr>
      <p:grpSpPr>
        <a:xfrm>
          <a:off x="0" y="0"/>
          <a:ext cx="0" cy="0"/>
          <a:chOff x="0" y="0"/>
          <a:chExt cx="0" cy="0"/>
        </a:xfrm>
      </p:grpSpPr>
      <p:sp>
        <p:nvSpPr>
          <p:cNvPr id="22" name="CasellaDiTesto 21">
            <a:extLst>
              <a:ext uri="{FF2B5EF4-FFF2-40B4-BE49-F238E27FC236}">
                <a16:creationId xmlns:a16="http://schemas.microsoft.com/office/drawing/2014/main" id="{B1728DE2-ADF0-7FDC-DEC2-994CB21D5470}"/>
              </a:ext>
            </a:extLst>
          </p:cNvPr>
          <p:cNvSpPr txBox="1"/>
          <p:nvPr/>
        </p:nvSpPr>
        <p:spPr>
          <a:xfrm>
            <a:off x="5803871" y="3482178"/>
            <a:ext cx="5995088" cy="2369880"/>
          </a:xfrm>
          <a:prstGeom prst="rect">
            <a:avLst/>
          </a:prstGeom>
          <a:noFill/>
        </p:spPr>
        <p:txBody>
          <a:bodyPr wrap="square" lIns="0" tIns="0" rIns="0" bIns="0" rtlCol="0">
            <a:spAutoFit/>
          </a:bodyPr>
          <a:lstStyle/>
          <a:p>
            <a:r>
              <a:rPr lang="it-IT" sz="1100" dirty="0"/>
              <a:t>Il reparto operativo di Crevola gestisce un sistema idraulico integrato che parte dai 2250 metri della diga di Avino, nel Parco naturale Veglia-Devero. Questo invaso, attivo solo nel periodo estivo, convoglia oggi le sue acque verso la diga di Agaro tramite un canale, diversamente dal passato quando alimentava il territorio di Varzo.</a:t>
            </a:r>
          </a:p>
          <a:p>
            <a:r>
              <a:rPr lang="it-IT" sz="1100" dirty="0"/>
              <a:t>Attualmente, nel comune di Varzo, l’acqua viene intercettata in due punti: la traversa di Paglino, situata vicino al confine svizzero, che alimenta la centrale in caverna Varzo II, e la traversa di </a:t>
            </a:r>
            <a:r>
              <a:rPr lang="it-IT" sz="1100" dirty="0" err="1"/>
              <a:t>Gebbo</a:t>
            </a:r>
            <a:r>
              <a:rPr lang="it-IT" sz="1100" dirty="0"/>
              <a:t>, che sfrutta il torrente Diveria per la centrale di Varzo. Gli scarichi di entrambi questi impianti confluiscono poi nella centrale in caverna di Crevola Diveria, a Crevoladossola.</a:t>
            </a:r>
          </a:p>
          <a:p>
            <a:r>
              <a:rPr lang="it-IT" sz="1100" dirty="0"/>
              <a:t>Parallelamente, la sede dell'unità operativa si trova presso la centrale di Crevola Toce, che utilizza le acque del fiume Toce provenienti dal bacino di Braccio. Più a valle, il Lago Tana funge da collettore generale, raccogliendo le acque turbinate sia del Toce che del Diveria per incanalarle verso le centrali di Calice e Villa Toce, situate nel comune di Villadossola. Il sistema è completato dalla derivazione del torrente </a:t>
            </a:r>
            <a:r>
              <a:rPr lang="it-IT" sz="1100" dirty="0" err="1"/>
              <a:t>Bogna</a:t>
            </a:r>
            <a:r>
              <a:rPr lang="it-IT" sz="1100" dirty="0"/>
              <a:t>, sulla destra orografica di Domodossola, che alimenta le centrali di Bognanco e Vagna.</a:t>
            </a:r>
          </a:p>
        </p:txBody>
      </p:sp>
      <p:sp>
        <p:nvSpPr>
          <p:cNvPr id="7" name="Titolo 6">
            <a:extLst>
              <a:ext uri="{FF2B5EF4-FFF2-40B4-BE49-F238E27FC236}">
                <a16:creationId xmlns:a16="http://schemas.microsoft.com/office/drawing/2014/main" id="{69102095-EA9F-20A3-C061-A0787E0FFD64}"/>
              </a:ext>
            </a:extLst>
          </p:cNvPr>
          <p:cNvSpPr>
            <a:spLocks noGrp="1"/>
          </p:cNvSpPr>
          <p:nvPr>
            <p:ph type="title"/>
          </p:nvPr>
        </p:nvSpPr>
        <p:spPr>
          <a:xfrm>
            <a:off x="691422" y="405576"/>
            <a:ext cx="8375651" cy="394980"/>
          </a:xfrm>
        </p:spPr>
        <p:txBody>
          <a:bodyPr/>
          <a:lstStyle/>
          <a:p>
            <a:r>
              <a:rPr lang="it-IT" dirty="0"/>
              <a:t>ANW – UT DOMO</a:t>
            </a:r>
          </a:p>
        </p:txBody>
      </p:sp>
      <p:sp>
        <p:nvSpPr>
          <p:cNvPr id="8" name="Segnaposto testo 7">
            <a:extLst>
              <a:ext uri="{FF2B5EF4-FFF2-40B4-BE49-F238E27FC236}">
                <a16:creationId xmlns:a16="http://schemas.microsoft.com/office/drawing/2014/main" id="{5232A414-EB9E-0AFA-6F0D-F39D8198516C}"/>
              </a:ext>
            </a:extLst>
          </p:cNvPr>
          <p:cNvSpPr>
            <a:spLocks noGrp="1"/>
          </p:cNvSpPr>
          <p:nvPr>
            <p:ph type="body" sz="quarter" idx="13"/>
          </p:nvPr>
        </p:nvSpPr>
        <p:spPr>
          <a:xfrm>
            <a:off x="708862" y="744270"/>
            <a:ext cx="8375651" cy="276999"/>
          </a:xfrm>
        </p:spPr>
        <p:txBody>
          <a:bodyPr/>
          <a:lstStyle/>
          <a:p>
            <a:pPr lvl="0" defTabSz="894372">
              <a:buClr>
                <a:schemeClr val="tx2"/>
              </a:buClr>
            </a:pPr>
            <a:r>
              <a:rPr lang="it-IT" sz="1800" kern="0" dirty="0">
                <a:ea typeface="Arial Unicode MS" pitchFamily="34" charset="-128"/>
                <a:cs typeface="Arial Unicode MS" pitchFamily="34" charset="-128"/>
              </a:rPr>
              <a:t>Impianti del perimetro UT DOMO – OU CREVOLA</a:t>
            </a:r>
            <a:endParaRPr lang="en-US" sz="1800" kern="0" dirty="0">
              <a:ea typeface="Arial Unicode MS" pitchFamily="34" charset="-128"/>
              <a:cs typeface="Arial Unicode MS" pitchFamily="34" charset="-128"/>
            </a:endParaRPr>
          </a:p>
          <a:p>
            <a:endParaRPr lang="it-IT" sz="1800" dirty="0"/>
          </a:p>
        </p:txBody>
      </p:sp>
      <p:sp>
        <p:nvSpPr>
          <p:cNvPr id="31" name="Segnaposto numero diapositiva 1">
            <a:extLst>
              <a:ext uri="{FF2B5EF4-FFF2-40B4-BE49-F238E27FC236}">
                <a16:creationId xmlns:a16="http://schemas.microsoft.com/office/drawing/2014/main" id="{CE4F5042-C645-7165-B841-234E43BEF1A0}"/>
              </a:ext>
            </a:extLst>
          </p:cNvPr>
          <p:cNvSpPr>
            <a:spLocks noGrp="1"/>
          </p:cNvSpPr>
          <p:nvPr>
            <p:ph type="sldNum" sz="quarter" idx="12"/>
          </p:nvPr>
        </p:nvSpPr>
        <p:spPr>
          <a:xfrm>
            <a:off x="10664825" y="6264005"/>
            <a:ext cx="762000" cy="153888"/>
          </a:xfrm>
        </p:spPr>
        <p:txBody>
          <a:bodyPr/>
          <a:lstStyle/>
          <a:p>
            <a:fld id="{1ED2235E-0982-3B42-A838-A74550CD4449}" type="slidenum">
              <a:rPr lang="en-GB" smtClean="0"/>
              <a:pPr/>
              <a:t>5</a:t>
            </a:fld>
            <a:endParaRPr lang="en-GB" dirty="0"/>
          </a:p>
        </p:txBody>
      </p:sp>
      <p:pic>
        <p:nvPicPr>
          <p:cNvPr id="21" name="Immagine 20">
            <a:extLst>
              <a:ext uri="{FF2B5EF4-FFF2-40B4-BE49-F238E27FC236}">
                <a16:creationId xmlns:a16="http://schemas.microsoft.com/office/drawing/2014/main" id="{53B488E6-4CFE-42DD-1441-4E39C8FCD0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950" y="266701"/>
            <a:ext cx="1286140" cy="936310"/>
          </a:xfrm>
          <a:prstGeom prst="rect">
            <a:avLst/>
          </a:prstGeom>
        </p:spPr>
      </p:pic>
      <p:sp>
        <p:nvSpPr>
          <p:cNvPr id="35" name="Rettangolo 34">
            <a:extLst>
              <a:ext uri="{FF2B5EF4-FFF2-40B4-BE49-F238E27FC236}">
                <a16:creationId xmlns:a16="http://schemas.microsoft.com/office/drawing/2014/main" id="{A14F9AD6-0FB4-B64A-E10A-4D594A2A9A65}"/>
              </a:ext>
            </a:extLst>
          </p:cNvPr>
          <p:cNvSpPr/>
          <p:nvPr/>
        </p:nvSpPr>
        <p:spPr>
          <a:xfrm>
            <a:off x="393041" y="406859"/>
            <a:ext cx="215399" cy="688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6" name="CasellaDiTesto 5">
            <a:extLst>
              <a:ext uri="{FF2B5EF4-FFF2-40B4-BE49-F238E27FC236}">
                <a16:creationId xmlns:a16="http://schemas.microsoft.com/office/drawing/2014/main" id="{2BB378DA-C24B-6DC6-FB58-A55BA3AA7228}"/>
              </a:ext>
            </a:extLst>
          </p:cNvPr>
          <p:cNvSpPr txBox="1"/>
          <p:nvPr/>
        </p:nvSpPr>
        <p:spPr>
          <a:xfrm>
            <a:off x="156671" y="3963495"/>
            <a:ext cx="5727829" cy="169277"/>
          </a:xfrm>
          <a:prstGeom prst="rect">
            <a:avLst/>
          </a:prstGeom>
          <a:noFill/>
        </p:spPr>
        <p:txBody>
          <a:bodyPr wrap="square" lIns="0" tIns="0" rIns="0" bIns="0" rtlCol="0">
            <a:spAutoFit/>
          </a:bodyPr>
          <a:lstStyle/>
          <a:p>
            <a:pPr>
              <a:buNone/>
            </a:pPr>
            <a:r>
              <a:rPr lang="it-IT" sz="1100" dirty="0"/>
              <a:t>Il</a:t>
            </a:r>
          </a:p>
        </p:txBody>
      </p:sp>
      <p:pic>
        <p:nvPicPr>
          <p:cNvPr id="12" name="Immagine 11" descr="Immagine che contiene testo, mappa, atlante&#10;&#10;Il contenuto generato dall'IA potrebbe non essere corretto.">
            <a:extLst>
              <a:ext uri="{FF2B5EF4-FFF2-40B4-BE49-F238E27FC236}">
                <a16:creationId xmlns:a16="http://schemas.microsoft.com/office/drawing/2014/main" id="{579108B4-0063-9715-0E41-927959F8B717}"/>
              </a:ext>
            </a:extLst>
          </p:cNvPr>
          <p:cNvPicPr>
            <a:picLocks noChangeAspect="1"/>
          </p:cNvPicPr>
          <p:nvPr/>
        </p:nvPicPr>
        <p:blipFill>
          <a:blip r:embed="rId4"/>
          <a:stretch>
            <a:fillRect/>
          </a:stretch>
        </p:blipFill>
        <p:spPr>
          <a:xfrm>
            <a:off x="393041" y="1467843"/>
            <a:ext cx="5122388" cy="4645887"/>
          </a:xfrm>
          <a:prstGeom prst="rect">
            <a:avLst/>
          </a:prstGeom>
          <a:effectLst>
            <a:outerShdw blurRad="50800" dist="38100" dir="5400000" algn="t" rotWithShape="0">
              <a:prstClr val="black">
                <a:alpha val="64000"/>
              </a:prstClr>
            </a:outerShdw>
          </a:effectLst>
        </p:spPr>
      </p:pic>
      <p:sp>
        <p:nvSpPr>
          <p:cNvPr id="13" name="Figura a mano libera: forma 12">
            <a:extLst>
              <a:ext uri="{FF2B5EF4-FFF2-40B4-BE49-F238E27FC236}">
                <a16:creationId xmlns:a16="http://schemas.microsoft.com/office/drawing/2014/main" id="{D0A26204-A181-4CBB-ABCD-040DFF2BBA42}"/>
              </a:ext>
            </a:extLst>
          </p:cNvPr>
          <p:cNvSpPr/>
          <p:nvPr/>
        </p:nvSpPr>
        <p:spPr>
          <a:xfrm>
            <a:off x="455134" y="1490875"/>
            <a:ext cx="4511965" cy="4904068"/>
          </a:xfrm>
          <a:custGeom>
            <a:avLst/>
            <a:gdLst>
              <a:gd name="csX0" fmla="*/ 184946 w 4511965"/>
              <a:gd name="csY0" fmla="*/ 36173 h 4904068"/>
              <a:gd name="csX1" fmla="*/ 194090 w 4511965"/>
              <a:gd name="csY1" fmla="*/ 484229 h 4904068"/>
              <a:gd name="csX2" fmla="*/ 861602 w 4511965"/>
              <a:gd name="csY2" fmla="*/ 1416917 h 4904068"/>
              <a:gd name="csX3" fmla="*/ 1071914 w 4511965"/>
              <a:gd name="csY3" fmla="*/ 3264005 h 4904068"/>
              <a:gd name="csX4" fmla="*/ 2681258 w 4511965"/>
              <a:gd name="csY4" fmla="*/ 3584045 h 4904068"/>
              <a:gd name="csX5" fmla="*/ 2525810 w 4511965"/>
              <a:gd name="csY5" fmla="*/ 4507589 h 4904068"/>
              <a:gd name="csX6" fmla="*/ 3815114 w 4511965"/>
              <a:gd name="csY6" fmla="*/ 4809341 h 4904068"/>
              <a:gd name="csX7" fmla="*/ 4007138 w 4511965"/>
              <a:gd name="csY7" fmla="*/ 2898245 h 4904068"/>
              <a:gd name="csX8" fmla="*/ 4455194 w 4511965"/>
              <a:gd name="csY8" fmla="*/ 1709525 h 4904068"/>
              <a:gd name="csX9" fmla="*/ 2580674 w 4511965"/>
              <a:gd name="csY9" fmla="*/ 923141 h 4904068"/>
              <a:gd name="csX10" fmla="*/ 2352074 w 4511965"/>
              <a:gd name="csY10" fmla="*/ 127613 h 4904068"/>
              <a:gd name="csX11" fmla="*/ 184946 w 4511965"/>
              <a:gd name="csY11" fmla="*/ 36173 h 49040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511965" h="4904068">
                <a:moveTo>
                  <a:pt x="184946" y="36173"/>
                </a:moveTo>
                <a:cubicBezTo>
                  <a:pt x="-174718" y="95609"/>
                  <a:pt x="81314" y="254105"/>
                  <a:pt x="194090" y="484229"/>
                </a:cubicBezTo>
                <a:cubicBezTo>
                  <a:pt x="306866" y="714353"/>
                  <a:pt x="715298" y="953621"/>
                  <a:pt x="861602" y="1416917"/>
                </a:cubicBezTo>
                <a:cubicBezTo>
                  <a:pt x="1007906" y="1880213"/>
                  <a:pt x="768638" y="2902817"/>
                  <a:pt x="1071914" y="3264005"/>
                </a:cubicBezTo>
                <a:cubicBezTo>
                  <a:pt x="1375190" y="3625193"/>
                  <a:pt x="2438942" y="3376781"/>
                  <a:pt x="2681258" y="3584045"/>
                </a:cubicBezTo>
                <a:cubicBezTo>
                  <a:pt x="2923574" y="3791309"/>
                  <a:pt x="2336834" y="4303373"/>
                  <a:pt x="2525810" y="4507589"/>
                </a:cubicBezTo>
                <a:cubicBezTo>
                  <a:pt x="2714786" y="4711805"/>
                  <a:pt x="3568226" y="5077565"/>
                  <a:pt x="3815114" y="4809341"/>
                </a:cubicBezTo>
                <a:cubicBezTo>
                  <a:pt x="4062002" y="4541117"/>
                  <a:pt x="3900458" y="3414881"/>
                  <a:pt x="4007138" y="2898245"/>
                </a:cubicBezTo>
                <a:cubicBezTo>
                  <a:pt x="4113818" y="2381609"/>
                  <a:pt x="4692938" y="2038709"/>
                  <a:pt x="4455194" y="1709525"/>
                </a:cubicBezTo>
                <a:cubicBezTo>
                  <a:pt x="4217450" y="1380341"/>
                  <a:pt x="2931194" y="1186793"/>
                  <a:pt x="2580674" y="923141"/>
                </a:cubicBezTo>
                <a:cubicBezTo>
                  <a:pt x="2230154" y="659489"/>
                  <a:pt x="2749838" y="275441"/>
                  <a:pt x="2352074" y="127613"/>
                </a:cubicBezTo>
                <a:cubicBezTo>
                  <a:pt x="1954310" y="-20215"/>
                  <a:pt x="544610" y="-23263"/>
                  <a:pt x="184946" y="36173"/>
                </a:cubicBezTo>
                <a:close/>
              </a:path>
            </a:pathLst>
          </a:cu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23" name="Rettangolo con angoli arrotondati 22">
            <a:extLst>
              <a:ext uri="{FF2B5EF4-FFF2-40B4-BE49-F238E27FC236}">
                <a16:creationId xmlns:a16="http://schemas.microsoft.com/office/drawing/2014/main" id="{25491D63-BABD-4D6F-3B47-351CE148D56A}"/>
              </a:ext>
            </a:extLst>
          </p:cNvPr>
          <p:cNvSpPr/>
          <p:nvPr/>
        </p:nvSpPr>
        <p:spPr>
          <a:xfrm>
            <a:off x="9067072" y="1242955"/>
            <a:ext cx="2641748" cy="1119318"/>
          </a:xfrm>
          <a:prstGeom prst="round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24" name="Rettangolo 23">
            <a:extLst>
              <a:ext uri="{FF2B5EF4-FFF2-40B4-BE49-F238E27FC236}">
                <a16:creationId xmlns:a16="http://schemas.microsoft.com/office/drawing/2014/main" id="{841482B2-3A14-2B15-38A4-A95AD1CF3091}"/>
              </a:ext>
            </a:extLst>
          </p:cNvPr>
          <p:cNvSpPr/>
          <p:nvPr/>
        </p:nvSpPr>
        <p:spPr>
          <a:xfrm>
            <a:off x="9162575" y="1311497"/>
            <a:ext cx="2450743" cy="623248"/>
          </a:xfrm>
          <a:prstGeom prst="rect">
            <a:avLst/>
          </a:prstGeom>
        </p:spPr>
        <p:txBody>
          <a:bodyPr wrap="square">
            <a:spAutoFit/>
          </a:bodyPr>
          <a:lstStyle/>
          <a:p>
            <a:pPr>
              <a:spcAft>
                <a:spcPts val="600"/>
              </a:spcAft>
            </a:pPr>
            <a:r>
              <a:rPr lang="it-IT" sz="1400" dirty="0"/>
              <a:t>1 GRANDE DIGA </a:t>
            </a:r>
          </a:p>
          <a:p>
            <a:pPr marL="671505" lvl="1" indent="-214305">
              <a:spcBef>
                <a:spcPts val="600"/>
              </a:spcBef>
              <a:buFont typeface="Wingdings" panose="05000000000000000000" pitchFamily="2" charset="2"/>
              <a:buChar char="ü"/>
            </a:pPr>
            <a:r>
              <a:rPr lang="it-IT" sz="1050" dirty="0"/>
              <a:t>DIGA AVINO </a:t>
            </a:r>
          </a:p>
        </p:txBody>
      </p:sp>
      <p:sp>
        <p:nvSpPr>
          <p:cNvPr id="25" name="Rettangolo 24">
            <a:extLst>
              <a:ext uri="{FF2B5EF4-FFF2-40B4-BE49-F238E27FC236}">
                <a16:creationId xmlns:a16="http://schemas.microsoft.com/office/drawing/2014/main" id="{131EB770-8ADE-B56F-5486-BA67FB6ABB7F}"/>
              </a:ext>
            </a:extLst>
          </p:cNvPr>
          <p:cNvSpPr/>
          <p:nvPr/>
        </p:nvSpPr>
        <p:spPr>
          <a:xfrm>
            <a:off x="5735819" y="1278125"/>
            <a:ext cx="2728111" cy="1815882"/>
          </a:xfrm>
          <a:prstGeom prst="rect">
            <a:avLst/>
          </a:prstGeom>
        </p:spPr>
        <p:txBody>
          <a:bodyPr wrap="square">
            <a:spAutoFit/>
          </a:bodyPr>
          <a:lstStyle/>
          <a:p>
            <a:pPr>
              <a:spcAft>
                <a:spcPts val="600"/>
              </a:spcAft>
            </a:pPr>
            <a:r>
              <a:rPr lang="it-IT" sz="1400" dirty="0"/>
              <a:t>4 CENTRALI DI PRODUZIONE</a:t>
            </a:r>
          </a:p>
          <a:p>
            <a:pPr marL="671505" lvl="1" indent="-214305">
              <a:spcBef>
                <a:spcPts val="600"/>
              </a:spcBef>
              <a:buFont typeface="Wingdings" panose="05000000000000000000" pitchFamily="2" charset="2"/>
              <a:buChar char="ü"/>
            </a:pPr>
            <a:r>
              <a:rPr lang="it-IT" sz="1050" dirty="0"/>
              <a:t>VARZO I &amp; VARZO II </a:t>
            </a:r>
          </a:p>
          <a:p>
            <a:pPr marL="671505" lvl="1" indent="-214305">
              <a:spcBef>
                <a:spcPts val="600"/>
              </a:spcBef>
              <a:buFont typeface="Wingdings" panose="05000000000000000000" pitchFamily="2" charset="2"/>
              <a:buChar char="ü"/>
            </a:pPr>
            <a:r>
              <a:rPr lang="it-IT" sz="1050" dirty="0"/>
              <a:t>CREVOLA DIVERIA</a:t>
            </a:r>
          </a:p>
          <a:p>
            <a:pPr marL="671505" lvl="1" indent="-214305">
              <a:spcBef>
                <a:spcPts val="600"/>
              </a:spcBef>
              <a:buFont typeface="Wingdings" panose="05000000000000000000" pitchFamily="2" charset="2"/>
              <a:buChar char="ü"/>
            </a:pPr>
            <a:r>
              <a:rPr lang="it-IT" sz="1050" dirty="0"/>
              <a:t>CREVOLA TOCE</a:t>
            </a:r>
          </a:p>
          <a:p>
            <a:pPr marL="671505" lvl="1" indent="-214305">
              <a:spcBef>
                <a:spcPts val="600"/>
              </a:spcBef>
              <a:buFont typeface="Wingdings" panose="05000000000000000000" pitchFamily="2" charset="2"/>
              <a:buChar char="ü"/>
            </a:pPr>
            <a:r>
              <a:rPr lang="it-IT" sz="1050" dirty="0"/>
              <a:t>BOGNANCO &amp; VAGNA</a:t>
            </a:r>
          </a:p>
          <a:p>
            <a:pPr marL="671505" lvl="1" indent="-214305">
              <a:spcBef>
                <a:spcPts val="600"/>
              </a:spcBef>
              <a:buFont typeface="Wingdings" panose="05000000000000000000" pitchFamily="2" charset="2"/>
              <a:buChar char="ü"/>
            </a:pPr>
            <a:r>
              <a:rPr lang="it-IT" sz="1050" dirty="0"/>
              <a:t>CALICE</a:t>
            </a:r>
          </a:p>
          <a:p>
            <a:pPr marL="671505" lvl="1" indent="-214305">
              <a:spcBef>
                <a:spcPts val="600"/>
              </a:spcBef>
              <a:buFont typeface="Wingdings" panose="05000000000000000000" pitchFamily="2" charset="2"/>
              <a:buChar char="ü"/>
            </a:pPr>
            <a:r>
              <a:rPr lang="it-IT" sz="1050" dirty="0"/>
              <a:t>VILLA TOCE</a:t>
            </a:r>
          </a:p>
        </p:txBody>
      </p:sp>
      <p:sp>
        <p:nvSpPr>
          <p:cNvPr id="26" name="Rettangolo con angoli arrotondati 25">
            <a:extLst>
              <a:ext uri="{FF2B5EF4-FFF2-40B4-BE49-F238E27FC236}">
                <a16:creationId xmlns:a16="http://schemas.microsoft.com/office/drawing/2014/main" id="{E66087FF-B330-630F-9DBD-27022224CC70}"/>
              </a:ext>
            </a:extLst>
          </p:cNvPr>
          <p:cNvSpPr/>
          <p:nvPr/>
        </p:nvSpPr>
        <p:spPr>
          <a:xfrm>
            <a:off x="5735819" y="1242955"/>
            <a:ext cx="2832752" cy="1815882"/>
          </a:xfrm>
          <a:prstGeom prst="roundRect">
            <a:avLst/>
          </a:prstGeom>
          <a:solidFill>
            <a:srgbClr val="FFC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Tree>
    <p:extLst>
      <p:ext uri="{BB962C8B-B14F-4D97-AF65-F5344CB8AC3E}">
        <p14:creationId xmlns:p14="http://schemas.microsoft.com/office/powerpoint/2010/main" val="529363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7DC3B-8DEA-95FA-E089-3CD5EBA7D870}"/>
            </a:ext>
          </a:extLst>
        </p:cNvPr>
        <p:cNvGrpSpPr/>
        <p:nvPr/>
      </p:nvGrpSpPr>
      <p:grpSpPr>
        <a:xfrm>
          <a:off x="0" y="0"/>
          <a:ext cx="0" cy="0"/>
          <a:chOff x="0" y="0"/>
          <a:chExt cx="0" cy="0"/>
        </a:xfrm>
      </p:grpSpPr>
      <p:sp>
        <p:nvSpPr>
          <p:cNvPr id="7" name="Titolo 6">
            <a:extLst>
              <a:ext uri="{FF2B5EF4-FFF2-40B4-BE49-F238E27FC236}">
                <a16:creationId xmlns:a16="http://schemas.microsoft.com/office/drawing/2014/main" id="{A0E95768-140B-5A52-BB01-95033ED16BFD}"/>
              </a:ext>
            </a:extLst>
          </p:cNvPr>
          <p:cNvSpPr>
            <a:spLocks noGrp="1"/>
          </p:cNvSpPr>
          <p:nvPr>
            <p:ph type="title"/>
          </p:nvPr>
        </p:nvSpPr>
        <p:spPr>
          <a:xfrm>
            <a:off x="691422" y="405576"/>
            <a:ext cx="8375651" cy="394980"/>
          </a:xfrm>
        </p:spPr>
        <p:txBody>
          <a:bodyPr/>
          <a:lstStyle/>
          <a:p>
            <a:r>
              <a:rPr lang="it-IT" dirty="0"/>
              <a:t>ANW – UT DOMO</a:t>
            </a:r>
          </a:p>
        </p:txBody>
      </p:sp>
      <p:sp>
        <p:nvSpPr>
          <p:cNvPr id="8" name="Segnaposto testo 7">
            <a:extLst>
              <a:ext uri="{FF2B5EF4-FFF2-40B4-BE49-F238E27FC236}">
                <a16:creationId xmlns:a16="http://schemas.microsoft.com/office/drawing/2014/main" id="{80F3B2FF-F42C-53D3-0A88-0B318A2E02ED}"/>
              </a:ext>
            </a:extLst>
          </p:cNvPr>
          <p:cNvSpPr>
            <a:spLocks noGrp="1"/>
          </p:cNvSpPr>
          <p:nvPr>
            <p:ph type="body" sz="quarter" idx="13"/>
          </p:nvPr>
        </p:nvSpPr>
        <p:spPr>
          <a:xfrm>
            <a:off x="708862" y="744270"/>
            <a:ext cx="8375651" cy="276999"/>
          </a:xfrm>
        </p:spPr>
        <p:txBody>
          <a:bodyPr/>
          <a:lstStyle/>
          <a:p>
            <a:pPr lvl="0" defTabSz="894372">
              <a:buClr>
                <a:schemeClr val="tx2"/>
              </a:buClr>
            </a:pPr>
            <a:r>
              <a:rPr lang="it-IT" sz="1800" kern="0" dirty="0">
                <a:ea typeface="Arial Unicode MS" pitchFamily="34" charset="-128"/>
                <a:cs typeface="Arial Unicode MS" pitchFamily="34" charset="-128"/>
              </a:rPr>
              <a:t>Impianti del perimetro UT DOMO – OU PALLANZENO 1/2</a:t>
            </a:r>
            <a:endParaRPr lang="en-US" sz="1800" kern="0" dirty="0">
              <a:ea typeface="Arial Unicode MS" pitchFamily="34" charset="-128"/>
              <a:cs typeface="Arial Unicode MS" pitchFamily="34" charset="-128"/>
            </a:endParaRPr>
          </a:p>
          <a:p>
            <a:endParaRPr lang="it-IT" sz="1800" dirty="0"/>
          </a:p>
        </p:txBody>
      </p:sp>
      <p:sp>
        <p:nvSpPr>
          <p:cNvPr id="31" name="Segnaposto numero diapositiva 1">
            <a:extLst>
              <a:ext uri="{FF2B5EF4-FFF2-40B4-BE49-F238E27FC236}">
                <a16:creationId xmlns:a16="http://schemas.microsoft.com/office/drawing/2014/main" id="{306669A4-9A08-1149-7020-AC2C8CBE5C9E}"/>
              </a:ext>
            </a:extLst>
          </p:cNvPr>
          <p:cNvSpPr>
            <a:spLocks noGrp="1"/>
          </p:cNvSpPr>
          <p:nvPr>
            <p:ph type="sldNum" sz="quarter" idx="12"/>
          </p:nvPr>
        </p:nvSpPr>
        <p:spPr>
          <a:xfrm>
            <a:off x="10664825" y="6264005"/>
            <a:ext cx="762000" cy="153888"/>
          </a:xfrm>
        </p:spPr>
        <p:txBody>
          <a:bodyPr/>
          <a:lstStyle/>
          <a:p>
            <a:fld id="{1ED2235E-0982-3B42-A838-A74550CD4449}" type="slidenum">
              <a:rPr lang="en-GB" smtClean="0"/>
              <a:pPr/>
              <a:t>6</a:t>
            </a:fld>
            <a:endParaRPr lang="en-GB" dirty="0"/>
          </a:p>
        </p:txBody>
      </p:sp>
      <p:pic>
        <p:nvPicPr>
          <p:cNvPr id="21" name="Immagine 20">
            <a:extLst>
              <a:ext uri="{FF2B5EF4-FFF2-40B4-BE49-F238E27FC236}">
                <a16:creationId xmlns:a16="http://schemas.microsoft.com/office/drawing/2014/main" id="{20E7C411-5435-8A41-6613-A3D66E1707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950" y="266701"/>
            <a:ext cx="1286140" cy="936310"/>
          </a:xfrm>
          <a:prstGeom prst="rect">
            <a:avLst/>
          </a:prstGeom>
        </p:spPr>
      </p:pic>
      <p:sp>
        <p:nvSpPr>
          <p:cNvPr id="35" name="Rettangolo 34">
            <a:extLst>
              <a:ext uri="{FF2B5EF4-FFF2-40B4-BE49-F238E27FC236}">
                <a16:creationId xmlns:a16="http://schemas.microsoft.com/office/drawing/2014/main" id="{601DFB57-B07C-CEB0-DB4A-CBB9D348CC05}"/>
              </a:ext>
            </a:extLst>
          </p:cNvPr>
          <p:cNvSpPr/>
          <p:nvPr/>
        </p:nvSpPr>
        <p:spPr>
          <a:xfrm>
            <a:off x="393041" y="406859"/>
            <a:ext cx="215399" cy="688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pic>
        <p:nvPicPr>
          <p:cNvPr id="4" name="Immagine 3" descr="Immagine che contiene testo, mappa, atlante&#10;&#10;Il contenuto generato dall'IA potrebbe non essere corretto.">
            <a:extLst>
              <a:ext uri="{FF2B5EF4-FFF2-40B4-BE49-F238E27FC236}">
                <a16:creationId xmlns:a16="http://schemas.microsoft.com/office/drawing/2014/main" id="{F0CE2D65-F644-224C-CAB5-F7E38E92496B}"/>
              </a:ext>
            </a:extLst>
          </p:cNvPr>
          <p:cNvPicPr>
            <a:picLocks noChangeAspect="1"/>
          </p:cNvPicPr>
          <p:nvPr/>
        </p:nvPicPr>
        <p:blipFill>
          <a:blip r:embed="rId4"/>
          <a:stretch>
            <a:fillRect/>
          </a:stretch>
        </p:blipFill>
        <p:spPr>
          <a:xfrm>
            <a:off x="500740" y="1278125"/>
            <a:ext cx="5704083" cy="3194566"/>
          </a:xfrm>
          <a:prstGeom prst="rect">
            <a:avLst/>
          </a:prstGeom>
          <a:effectLst>
            <a:outerShdw blurRad="50800" dist="38100" dir="5400000" algn="t" rotWithShape="0">
              <a:prstClr val="black">
                <a:alpha val="64000"/>
              </a:prstClr>
            </a:outerShdw>
          </a:effectLst>
        </p:spPr>
      </p:pic>
      <p:pic>
        <p:nvPicPr>
          <p:cNvPr id="9" name="Immagine 8" descr="Immagine che contiene mappa, testo, atlante&#10;&#10;Il contenuto generato dall'IA potrebbe non essere corretto.">
            <a:extLst>
              <a:ext uri="{FF2B5EF4-FFF2-40B4-BE49-F238E27FC236}">
                <a16:creationId xmlns:a16="http://schemas.microsoft.com/office/drawing/2014/main" id="{C5B038FD-9AC8-4546-33ED-EE4E13594C32}"/>
              </a:ext>
            </a:extLst>
          </p:cNvPr>
          <p:cNvPicPr>
            <a:picLocks noChangeAspect="1"/>
          </p:cNvPicPr>
          <p:nvPr/>
        </p:nvPicPr>
        <p:blipFill>
          <a:blip r:embed="rId5"/>
          <a:stretch>
            <a:fillRect/>
          </a:stretch>
        </p:blipFill>
        <p:spPr>
          <a:xfrm>
            <a:off x="6388562" y="3911405"/>
            <a:ext cx="5391902" cy="2700714"/>
          </a:xfrm>
          <a:prstGeom prst="rect">
            <a:avLst/>
          </a:prstGeom>
          <a:effectLst>
            <a:outerShdw blurRad="50800" dist="38100" dir="5400000" algn="t" rotWithShape="0">
              <a:prstClr val="black">
                <a:alpha val="64000"/>
              </a:prstClr>
            </a:outerShdw>
          </a:effectLst>
        </p:spPr>
      </p:pic>
      <p:sp>
        <p:nvSpPr>
          <p:cNvPr id="10" name="Figura a mano libera: forma 9">
            <a:extLst>
              <a:ext uri="{FF2B5EF4-FFF2-40B4-BE49-F238E27FC236}">
                <a16:creationId xmlns:a16="http://schemas.microsoft.com/office/drawing/2014/main" id="{1823BBEF-2846-6678-85BC-32362F86AC2E}"/>
              </a:ext>
            </a:extLst>
          </p:cNvPr>
          <p:cNvSpPr/>
          <p:nvPr/>
        </p:nvSpPr>
        <p:spPr>
          <a:xfrm>
            <a:off x="412924" y="1449162"/>
            <a:ext cx="5868694" cy="3124626"/>
          </a:xfrm>
          <a:custGeom>
            <a:avLst/>
            <a:gdLst>
              <a:gd name="csX0" fmla="*/ 2037668 w 5868694"/>
              <a:gd name="csY0" fmla="*/ 4734 h 3124626"/>
              <a:gd name="csX1" fmla="*/ 1278716 w 5868694"/>
              <a:gd name="csY1" fmla="*/ 160182 h 3124626"/>
              <a:gd name="csX2" fmla="*/ 784940 w 5868694"/>
              <a:gd name="csY2" fmla="*/ 379638 h 3124626"/>
              <a:gd name="csX3" fmla="*/ 227156 w 5868694"/>
              <a:gd name="csY3" fmla="*/ 781974 h 3124626"/>
              <a:gd name="csX4" fmla="*/ 7700 w 5868694"/>
              <a:gd name="csY4" fmla="*/ 1339758 h 3124626"/>
              <a:gd name="csX5" fmla="*/ 474044 w 5868694"/>
              <a:gd name="csY5" fmla="*/ 2199294 h 3124626"/>
              <a:gd name="csX6" fmla="*/ 1388444 w 5868694"/>
              <a:gd name="csY6" fmla="*/ 2071278 h 3124626"/>
              <a:gd name="csX7" fmla="*/ 1607900 w 5868694"/>
              <a:gd name="csY7" fmla="*/ 2363886 h 3124626"/>
              <a:gd name="csX8" fmla="*/ 949532 w 5868694"/>
              <a:gd name="csY8" fmla="*/ 2702214 h 3124626"/>
              <a:gd name="csX9" fmla="*/ 1489028 w 5868694"/>
              <a:gd name="csY9" fmla="*/ 3122838 h 3124626"/>
              <a:gd name="csX10" fmla="*/ 3262964 w 5868694"/>
              <a:gd name="csY10" fmla="*/ 2857662 h 3124626"/>
              <a:gd name="csX11" fmla="*/ 4113356 w 5868694"/>
              <a:gd name="csY11" fmla="*/ 2958246 h 3124626"/>
              <a:gd name="csX12" fmla="*/ 4780868 w 5868694"/>
              <a:gd name="csY12" fmla="*/ 3058830 h 3124626"/>
              <a:gd name="csX13" fmla="*/ 5320364 w 5868694"/>
              <a:gd name="csY13" fmla="*/ 2930814 h 3124626"/>
              <a:gd name="csX14" fmla="*/ 5695268 w 5868694"/>
              <a:gd name="csY14" fmla="*/ 2318166 h 3124626"/>
              <a:gd name="csX15" fmla="*/ 5804996 w 5868694"/>
              <a:gd name="csY15" fmla="*/ 1860966 h 3124626"/>
              <a:gd name="csX16" fmla="*/ 4716860 w 5868694"/>
              <a:gd name="csY16" fmla="*/ 1385478 h 3124626"/>
              <a:gd name="csX17" fmla="*/ 4195652 w 5868694"/>
              <a:gd name="csY17" fmla="*/ 1202598 h 3124626"/>
              <a:gd name="csX18" fmla="*/ 4250516 w 5868694"/>
              <a:gd name="csY18" fmla="*/ 1065438 h 3124626"/>
              <a:gd name="csX19" fmla="*/ 4899740 w 5868694"/>
              <a:gd name="csY19" fmla="*/ 873414 h 3124626"/>
              <a:gd name="csX20" fmla="*/ 4744292 w 5868694"/>
              <a:gd name="csY20" fmla="*/ 580806 h 3124626"/>
              <a:gd name="csX21" fmla="*/ 2824052 w 5868694"/>
              <a:gd name="csY21" fmla="*/ 516798 h 3124626"/>
              <a:gd name="csX22" fmla="*/ 2970356 w 5868694"/>
              <a:gd name="csY22" fmla="*/ 87030 h 3124626"/>
              <a:gd name="csX23" fmla="*/ 2037668 w 5868694"/>
              <a:gd name="csY23" fmla="*/ 4734 h 31246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5868694" h="3124626">
                <a:moveTo>
                  <a:pt x="2037668" y="4734"/>
                </a:moveTo>
                <a:cubicBezTo>
                  <a:pt x="1755728" y="16926"/>
                  <a:pt x="1487504" y="97698"/>
                  <a:pt x="1278716" y="160182"/>
                </a:cubicBezTo>
                <a:cubicBezTo>
                  <a:pt x="1069928" y="222666"/>
                  <a:pt x="960200" y="276006"/>
                  <a:pt x="784940" y="379638"/>
                </a:cubicBezTo>
                <a:cubicBezTo>
                  <a:pt x="609680" y="483270"/>
                  <a:pt x="356696" y="621954"/>
                  <a:pt x="227156" y="781974"/>
                </a:cubicBezTo>
                <a:cubicBezTo>
                  <a:pt x="97616" y="941994"/>
                  <a:pt x="-33448" y="1103538"/>
                  <a:pt x="7700" y="1339758"/>
                </a:cubicBezTo>
                <a:cubicBezTo>
                  <a:pt x="48848" y="1575978"/>
                  <a:pt x="243920" y="2077374"/>
                  <a:pt x="474044" y="2199294"/>
                </a:cubicBezTo>
                <a:cubicBezTo>
                  <a:pt x="704168" y="2321214"/>
                  <a:pt x="1199468" y="2043846"/>
                  <a:pt x="1388444" y="2071278"/>
                </a:cubicBezTo>
                <a:cubicBezTo>
                  <a:pt x="1577420" y="2098710"/>
                  <a:pt x="1681052" y="2258730"/>
                  <a:pt x="1607900" y="2363886"/>
                </a:cubicBezTo>
                <a:cubicBezTo>
                  <a:pt x="1534748" y="2469042"/>
                  <a:pt x="969344" y="2575722"/>
                  <a:pt x="949532" y="2702214"/>
                </a:cubicBezTo>
                <a:cubicBezTo>
                  <a:pt x="929720" y="2828706"/>
                  <a:pt x="1103456" y="3096930"/>
                  <a:pt x="1489028" y="3122838"/>
                </a:cubicBezTo>
                <a:cubicBezTo>
                  <a:pt x="1874600" y="3148746"/>
                  <a:pt x="2825576" y="2885094"/>
                  <a:pt x="3262964" y="2857662"/>
                </a:cubicBezTo>
                <a:cubicBezTo>
                  <a:pt x="3700352" y="2830230"/>
                  <a:pt x="3860372" y="2924718"/>
                  <a:pt x="4113356" y="2958246"/>
                </a:cubicBezTo>
                <a:cubicBezTo>
                  <a:pt x="4366340" y="2991774"/>
                  <a:pt x="4579700" y="3063402"/>
                  <a:pt x="4780868" y="3058830"/>
                </a:cubicBezTo>
                <a:cubicBezTo>
                  <a:pt x="4982036" y="3054258"/>
                  <a:pt x="5167964" y="3054258"/>
                  <a:pt x="5320364" y="2930814"/>
                </a:cubicBezTo>
                <a:cubicBezTo>
                  <a:pt x="5472764" y="2807370"/>
                  <a:pt x="5614496" y="2496474"/>
                  <a:pt x="5695268" y="2318166"/>
                </a:cubicBezTo>
                <a:cubicBezTo>
                  <a:pt x="5776040" y="2139858"/>
                  <a:pt x="5968064" y="2016414"/>
                  <a:pt x="5804996" y="1860966"/>
                </a:cubicBezTo>
                <a:cubicBezTo>
                  <a:pt x="5641928" y="1705518"/>
                  <a:pt x="4985084" y="1495206"/>
                  <a:pt x="4716860" y="1385478"/>
                </a:cubicBezTo>
                <a:cubicBezTo>
                  <a:pt x="4448636" y="1275750"/>
                  <a:pt x="4273376" y="1255938"/>
                  <a:pt x="4195652" y="1202598"/>
                </a:cubicBezTo>
                <a:cubicBezTo>
                  <a:pt x="4117928" y="1149258"/>
                  <a:pt x="4133168" y="1120302"/>
                  <a:pt x="4250516" y="1065438"/>
                </a:cubicBezTo>
                <a:cubicBezTo>
                  <a:pt x="4367864" y="1010574"/>
                  <a:pt x="4817444" y="954186"/>
                  <a:pt x="4899740" y="873414"/>
                </a:cubicBezTo>
                <a:cubicBezTo>
                  <a:pt x="4982036" y="792642"/>
                  <a:pt x="5090240" y="640242"/>
                  <a:pt x="4744292" y="580806"/>
                </a:cubicBezTo>
                <a:cubicBezTo>
                  <a:pt x="4398344" y="521370"/>
                  <a:pt x="3119708" y="599094"/>
                  <a:pt x="2824052" y="516798"/>
                </a:cubicBezTo>
                <a:cubicBezTo>
                  <a:pt x="2528396" y="434502"/>
                  <a:pt x="3098372" y="175422"/>
                  <a:pt x="2970356" y="87030"/>
                </a:cubicBezTo>
                <a:cubicBezTo>
                  <a:pt x="2842340" y="-1362"/>
                  <a:pt x="2319608" y="-7458"/>
                  <a:pt x="2037668" y="4734"/>
                </a:cubicBezTo>
                <a:close/>
              </a:path>
            </a:pathLst>
          </a:cu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14" name="Figura a mano libera: forma 13">
            <a:extLst>
              <a:ext uri="{FF2B5EF4-FFF2-40B4-BE49-F238E27FC236}">
                <a16:creationId xmlns:a16="http://schemas.microsoft.com/office/drawing/2014/main" id="{1C2A434A-6C65-037F-A4B5-793E30B74685}"/>
              </a:ext>
            </a:extLst>
          </p:cNvPr>
          <p:cNvSpPr/>
          <p:nvPr/>
        </p:nvSpPr>
        <p:spPr>
          <a:xfrm>
            <a:off x="8612710" y="3924177"/>
            <a:ext cx="3278155" cy="2466857"/>
          </a:xfrm>
          <a:custGeom>
            <a:avLst/>
            <a:gdLst>
              <a:gd name="csX0" fmla="*/ 202106 w 3278155"/>
              <a:gd name="csY0" fmla="*/ 26031 h 2466857"/>
              <a:gd name="csX1" fmla="*/ 183818 w 3278155"/>
              <a:gd name="csY1" fmla="*/ 483231 h 2466857"/>
              <a:gd name="csX2" fmla="*/ 311834 w 3278155"/>
              <a:gd name="csY2" fmla="*/ 666111 h 2466857"/>
              <a:gd name="csX3" fmla="*/ 938 w 3278155"/>
              <a:gd name="csY3" fmla="*/ 1059303 h 2466857"/>
              <a:gd name="csX4" fmla="*/ 430706 w 3278155"/>
              <a:gd name="csY4" fmla="*/ 1754247 h 2466857"/>
              <a:gd name="csX5" fmla="*/ 558722 w 3278155"/>
              <a:gd name="csY5" fmla="*/ 2348607 h 2466857"/>
              <a:gd name="csX6" fmla="*/ 2222930 w 3278155"/>
              <a:gd name="csY6" fmla="*/ 2440047 h 2466857"/>
              <a:gd name="csX7" fmla="*/ 2515538 w 3278155"/>
              <a:gd name="csY7" fmla="*/ 2010279 h 2466857"/>
              <a:gd name="csX8" fmla="*/ 2872154 w 3278155"/>
              <a:gd name="csY8" fmla="*/ 1708527 h 2466857"/>
              <a:gd name="csX9" fmla="*/ 1774874 w 3278155"/>
              <a:gd name="csY9" fmla="*/ 1269615 h 2466857"/>
              <a:gd name="csX10" fmla="*/ 1527986 w 3278155"/>
              <a:gd name="csY10" fmla="*/ 867279 h 2466857"/>
              <a:gd name="csX11" fmla="*/ 2579546 w 3278155"/>
              <a:gd name="csY11" fmla="*/ 702687 h 2466857"/>
              <a:gd name="csX12" fmla="*/ 3201338 w 3278155"/>
              <a:gd name="csY12" fmla="*/ 611247 h 2466857"/>
              <a:gd name="csX13" fmla="*/ 3128186 w 3278155"/>
              <a:gd name="csY13" fmla="*/ 163191 h 2466857"/>
              <a:gd name="csX14" fmla="*/ 1939466 w 3278155"/>
              <a:gd name="csY14" fmla="*/ 181479 h 2466857"/>
              <a:gd name="csX15" fmla="*/ 1025066 w 3278155"/>
              <a:gd name="csY15" fmla="*/ 71751 h 2466857"/>
              <a:gd name="csX16" fmla="*/ 202106 w 3278155"/>
              <a:gd name="csY16" fmla="*/ 26031 h 246685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278155" h="2466857">
                <a:moveTo>
                  <a:pt x="202106" y="26031"/>
                </a:moveTo>
                <a:cubicBezTo>
                  <a:pt x="61898" y="94611"/>
                  <a:pt x="165530" y="376551"/>
                  <a:pt x="183818" y="483231"/>
                </a:cubicBezTo>
                <a:cubicBezTo>
                  <a:pt x="202106" y="589911"/>
                  <a:pt x="342314" y="570099"/>
                  <a:pt x="311834" y="666111"/>
                </a:cubicBezTo>
                <a:cubicBezTo>
                  <a:pt x="281354" y="762123"/>
                  <a:pt x="-18874" y="877947"/>
                  <a:pt x="938" y="1059303"/>
                </a:cubicBezTo>
                <a:cubicBezTo>
                  <a:pt x="20750" y="1240659"/>
                  <a:pt x="337742" y="1539363"/>
                  <a:pt x="430706" y="1754247"/>
                </a:cubicBezTo>
                <a:cubicBezTo>
                  <a:pt x="523670" y="1969131"/>
                  <a:pt x="260018" y="2234307"/>
                  <a:pt x="558722" y="2348607"/>
                </a:cubicBezTo>
                <a:cubicBezTo>
                  <a:pt x="857426" y="2462907"/>
                  <a:pt x="1896794" y="2496435"/>
                  <a:pt x="2222930" y="2440047"/>
                </a:cubicBezTo>
                <a:cubicBezTo>
                  <a:pt x="2549066" y="2383659"/>
                  <a:pt x="2407334" y="2132199"/>
                  <a:pt x="2515538" y="2010279"/>
                </a:cubicBezTo>
                <a:cubicBezTo>
                  <a:pt x="2623742" y="1888359"/>
                  <a:pt x="2995598" y="1831971"/>
                  <a:pt x="2872154" y="1708527"/>
                </a:cubicBezTo>
                <a:cubicBezTo>
                  <a:pt x="2748710" y="1585083"/>
                  <a:pt x="1998902" y="1409823"/>
                  <a:pt x="1774874" y="1269615"/>
                </a:cubicBezTo>
                <a:cubicBezTo>
                  <a:pt x="1550846" y="1129407"/>
                  <a:pt x="1393874" y="961767"/>
                  <a:pt x="1527986" y="867279"/>
                </a:cubicBezTo>
                <a:cubicBezTo>
                  <a:pt x="1662098" y="772791"/>
                  <a:pt x="2579546" y="702687"/>
                  <a:pt x="2579546" y="702687"/>
                </a:cubicBezTo>
                <a:cubicBezTo>
                  <a:pt x="2858438" y="660015"/>
                  <a:pt x="3109898" y="701163"/>
                  <a:pt x="3201338" y="611247"/>
                </a:cubicBezTo>
                <a:cubicBezTo>
                  <a:pt x="3292778" y="521331"/>
                  <a:pt x="3338498" y="234819"/>
                  <a:pt x="3128186" y="163191"/>
                </a:cubicBezTo>
                <a:cubicBezTo>
                  <a:pt x="2917874" y="91563"/>
                  <a:pt x="2289986" y="196719"/>
                  <a:pt x="1939466" y="181479"/>
                </a:cubicBezTo>
                <a:cubicBezTo>
                  <a:pt x="1588946" y="166239"/>
                  <a:pt x="1313102" y="100707"/>
                  <a:pt x="1025066" y="71751"/>
                </a:cubicBezTo>
                <a:cubicBezTo>
                  <a:pt x="737030" y="42795"/>
                  <a:pt x="342314" y="-42549"/>
                  <a:pt x="202106" y="26031"/>
                </a:cubicBezTo>
                <a:close/>
              </a:path>
            </a:pathLst>
          </a:cu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15" name="Figura a mano libera: forma 14">
            <a:extLst>
              <a:ext uri="{FF2B5EF4-FFF2-40B4-BE49-F238E27FC236}">
                <a16:creationId xmlns:a16="http://schemas.microsoft.com/office/drawing/2014/main" id="{0B2C97E6-8C3A-8ADB-6C6D-2691BC6E62C9}"/>
              </a:ext>
            </a:extLst>
          </p:cNvPr>
          <p:cNvSpPr/>
          <p:nvPr/>
        </p:nvSpPr>
        <p:spPr>
          <a:xfrm>
            <a:off x="6467325" y="5762626"/>
            <a:ext cx="840726" cy="886777"/>
          </a:xfrm>
          <a:custGeom>
            <a:avLst/>
            <a:gdLst>
              <a:gd name="csX0" fmla="*/ 317523 w 840726"/>
              <a:gd name="csY0" fmla="*/ 7238 h 886777"/>
              <a:gd name="csX1" fmla="*/ 24915 w 840726"/>
              <a:gd name="csY1" fmla="*/ 144398 h 886777"/>
              <a:gd name="csX2" fmla="*/ 24915 w 840726"/>
              <a:gd name="csY2" fmla="*/ 199262 h 886777"/>
              <a:gd name="csX3" fmla="*/ 70635 w 840726"/>
              <a:gd name="csY3" fmla="*/ 811910 h 886777"/>
              <a:gd name="csX4" fmla="*/ 811299 w 840726"/>
              <a:gd name="csY4" fmla="*/ 830198 h 886777"/>
              <a:gd name="csX5" fmla="*/ 655851 w 840726"/>
              <a:gd name="csY5" fmla="*/ 391286 h 886777"/>
              <a:gd name="csX6" fmla="*/ 317523 w 840726"/>
              <a:gd name="csY6" fmla="*/ 7238 h 88677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840726" h="886777">
                <a:moveTo>
                  <a:pt x="317523" y="7238"/>
                </a:moveTo>
                <a:cubicBezTo>
                  <a:pt x="212367" y="-33910"/>
                  <a:pt x="73683" y="112394"/>
                  <a:pt x="24915" y="144398"/>
                </a:cubicBezTo>
                <a:cubicBezTo>
                  <a:pt x="-23853" y="176402"/>
                  <a:pt x="17295" y="88010"/>
                  <a:pt x="24915" y="199262"/>
                </a:cubicBezTo>
                <a:cubicBezTo>
                  <a:pt x="32535" y="310514"/>
                  <a:pt x="-60429" y="706754"/>
                  <a:pt x="70635" y="811910"/>
                </a:cubicBezTo>
                <a:cubicBezTo>
                  <a:pt x="201699" y="917066"/>
                  <a:pt x="713763" y="900302"/>
                  <a:pt x="811299" y="830198"/>
                </a:cubicBezTo>
                <a:cubicBezTo>
                  <a:pt x="908835" y="760094"/>
                  <a:pt x="739671" y="528446"/>
                  <a:pt x="655851" y="391286"/>
                </a:cubicBezTo>
                <a:cubicBezTo>
                  <a:pt x="572031" y="254126"/>
                  <a:pt x="422679" y="48386"/>
                  <a:pt x="317523" y="7238"/>
                </a:cubicBezTo>
                <a:close/>
              </a:path>
            </a:pathLst>
          </a:cu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20" name="Rettangolo 19">
            <a:extLst>
              <a:ext uri="{FF2B5EF4-FFF2-40B4-BE49-F238E27FC236}">
                <a16:creationId xmlns:a16="http://schemas.microsoft.com/office/drawing/2014/main" id="{4E4511A1-18FD-3207-4156-11122E6AD10C}"/>
              </a:ext>
            </a:extLst>
          </p:cNvPr>
          <p:cNvSpPr/>
          <p:nvPr/>
        </p:nvSpPr>
        <p:spPr>
          <a:xfrm>
            <a:off x="7308051" y="1498838"/>
            <a:ext cx="2450743" cy="1577355"/>
          </a:xfrm>
          <a:prstGeom prst="rect">
            <a:avLst/>
          </a:prstGeom>
        </p:spPr>
        <p:txBody>
          <a:bodyPr wrap="square">
            <a:spAutoFit/>
          </a:bodyPr>
          <a:lstStyle/>
          <a:p>
            <a:pPr>
              <a:spcAft>
                <a:spcPts val="600"/>
              </a:spcAft>
            </a:pPr>
            <a:r>
              <a:rPr lang="it-IT" sz="1400" dirty="0"/>
              <a:t>5 GRANDI DIGHE</a:t>
            </a:r>
          </a:p>
          <a:p>
            <a:pPr marL="671505" lvl="1" indent="-214305">
              <a:spcBef>
                <a:spcPts val="600"/>
              </a:spcBef>
              <a:buFont typeface="Wingdings" panose="05000000000000000000" pitchFamily="2" charset="2"/>
              <a:buChar char="ü"/>
            </a:pPr>
            <a:r>
              <a:rPr lang="it-IT" sz="1050" dirty="0"/>
              <a:t>DIGA ALPE CAVALLI</a:t>
            </a:r>
          </a:p>
          <a:p>
            <a:pPr marL="671505" lvl="1" indent="-214305">
              <a:spcBef>
                <a:spcPts val="600"/>
              </a:spcBef>
              <a:buFont typeface="Wingdings" panose="05000000000000000000" pitchFamily="2" charset="2"/>
              <a:buChar char="ü"/>
            </a:pPr>
            <a:r>
              <a:rPr lang="it-IT" sz="1050" dirty="0"/>
              <a:t>DIGA CAMPOSECCO</a:t>
            </a:r>
          </a:p>
          <a:p>
            <a:pPr marL="671505" lvl="1" indent="-214305">
              <a:spcBef>
                <a:spcPts val="600"/>
              </a:spcBef>
              <a:buFont typeface="Wingdings" panose="05000000000000000000" pitchFamily="2" charset="2"/>
              <a:buChar char="ü"/>
            </a:pPr>
            <a:r>
              <a:rPr lang="it-IT" sz="1050" dirty="0"/>
              <a:t>DIGA CINGINO</a:t>
            </a:r>
          </a:p>
          <a:p>
            <a:pPr marL="671505" lvl="1" indent="-214305">
              <a:spcBef>
                <a:spcPts val="600"/>
              </a:spcBef>
              <a:buFont typeface="Wingdings" panose="05000000000000000000" pitchFamily="2" charset="2"/>
              <a:buChar char="ü"/>
            </a:pPr>
            <a:r>
              <a:rPr lang="it-IT" sz="1050" dirty="0"/>
              <a:t>DIGA CAMPLICCIOLI</a:t>
            </a:r>
          </a:p>
          <a:p>
            <a:pPr marL="671505" lvl="1" indent="-214305">
              <a:spcBef>
                <a:spcPts val="600"/>
              </a:spcBef>
              <a:buFont typeface="Wingdings" panose="05000000000000000000" pitchFamily="2" charset="2"/>
              <a:buChar char="ü"/>
            </a:pPr>
            <a:r>
              <a:rPr lang="it-IT" sz="1050" dirty="0"/>
              <a:t>DIGA RIMASCO </a:t>
            </a:r>
          </a:p>
        </p:txBody>
      </p:sp>
      <p:sp>
        <p:nvSpPr>
          <p:cNvPr id="23" name="Rettangolo con angoli arrotondati 22">
            <a:extLst>
              <a:ext uri="{FF2B5EF4-FFF2-40B4-BE49-F238E27FC236}">
                <a16:creationId xmlns:a16="http://schemas.microsoft.com/office/drawing/2014/main" id="{47DBB595-4411-8DDE-58E3-469886939862}"/>
              </a:ext>
            </a:extLst>
          </p:cNvPr>
          <p:cNvSpPr/>
          <p:nvPr/>
        </p:nvSpPr>
        <p:spPr>
          <a:xfrm>
            <a:off x="7122267" y="1476877"/>
            <a:ext cx="2980885" cy="1577355"/>
          </a:xfrm>
          <a:prstGeom prst="round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24" name="Rettangolo 23">
            <a:extLst>
              <a:ext uri="{FF2B5EF4-FFF2-40B4-BE49-F238E27FC236}">
                <a16:creationId xmlns:a16="http://schemas.microsoft.com/office/drawing/2014/main" id="{25B4E1FB-2DA9-5D7A-CFE8-AD9C3F162057}"/>
              </a:ext>
            </a:extLst>
          </p:cNvPr>
          <p:cNvSpPr/>
          <p:nvPr/>
        </p:nvSpPr>
        <p:spPr>
          <a:xfrm>
            <a:off x="222372" y="4655901"/>
            <a:ext cx="2809416" cy="2054409"/>
          </a:xfrm>
          <a:prstGeom prst="rect">
            <a:avLst/>
          </a:prstGeom>
        </p:spPr>
        <p:txBody>
          <a:bodyPr wrap="square">
            <a:spAutoFit/>
          </a:bodyPr>
          <a:lstStyle/>
          <a:p>
            <a:pPr>
              <a:spcAft>
                <a:spcPts val="600"/>
              </a:spcAft>
            </a:pPr>
            <a:r>
              <a:rPr lang="it-IT" sz="1400" dirty="0"/>
              <a:t>17 CENTRALI DI PRODUZIONE</a:t>
            </a:r>
          </a:p>
          <a:p>
            <a:pPr marL="671505" lvl="1" indent="-214305">
              <a:spcBef>
                <a:spcPts val="600"/>
              </a:spcBef>
              <a:buFont typeface="Wingdings" panose="05000000000000000000" pitchFamily="2" charset="2"/>
              <a:buChar char="ü"/>
            </a:pPr>
            <a:r>
              <a:rPr lang="it-IT" sz="1050" dirty="0"/>
              <a:t>CAMPLICCIOLI                                        </a:t>
            </a:r>
          </a:p>
          <a:p>
            <a:pPr marL="671505" lvl="1" indent="-214305">
              <a:spcBef>
                <a:spcPts val="600"/>
              </a:spcBef>
              <a:buFont typeface="Wingdings" panose="05000000000000000000" pitchFamily="2" charset="2"/>
              <a:buChar char="ü"/>
            </a:pPr>
            <a:r>
              <a:rPr lang="it-IT" sz="1050" dirty="0"/>
              <a:t>ROVESCA</a:t>
            </a:r>
          </a:p>
          <a:p>
            <a:pPr marL="671505" lvl="1" indent="-214305">
              <a:spcBef>
                <a:spcPts val="600"/>
              </a:spcBef>
              <a:buFont typeface="Wingdings" panose="05000000000000000000" pitchFamily="2" charset="2"/>
              <a:buChar char="ü"/>
            </a:pPr>
            <a:r>
              <a:rPr lang="it-IT" sz="1050" dirty="0"/>
              <a:t>VILLA OVESCA</a:t>
            </a:r>
          </a:p>
          <a:p>
            <a:pPr marL="671505" lvl="1" indent="-214305">
              <a:spcBef>
                <a:spcPts val="600"/>
              </a:spcBef>
              <a:buFont typeface="Wingdings" panose="05000000000000000000" pitchFamily="2" charset="2"/>
              <a:buChar char="ü"/>
            </a:pPr>
            <a:r>
              <a:rPr lang="it-IT" sz="1050" dirty="0"/>
              <a:t>PALLANZENO</a:t>
            </a:r>
          </a:p>
          <a:p>
            <a:pPr marL="671505" lvl="1" indent="-214305">
              <a:spcBef>
                <a:spcPts val="600"/>
              </a:spcBef>
              <a:buFont typeface="Wingdings" panose="05000000000000000000" pitchFamily="2" charset="2"/>
              <a:buChar char="ü"/>
            </a:pPr>
            <a:r>
              <a:rPr lang="it-IT" sz="1050" dirty="0"/>
              <a:t>PIEDIMULERA</a:t>
            </a:r>
          </a:p>
          <a:p>
            <a:pPr marL="671505" lvl="1" indent="-214305">
              <a:spcBef>
                <a:spcPts val="600"/>
              </a:spcBef>
              <a:buFont typeface="Wingdings" panose="05000000000000000000" pitchFamily="2" charset="2"/>
              <a:buChar char="ü"/>
            </a:pPr>
            <a:r>
              <a:rPr lang="it-IT" sz="1050" dirty="0"/>
              <a:t>PIEVE VERGONTE II</a:t>
            </a:r>
          </a:p>
          <a:p>
            <a:pPr marL="671505" lvl="1" indent="-214305">
              <a:spcBef>
                <a:spcPts val="600"/>
              </a:spcBef>
              <a:buFont typeface="Wingdings" panose="05000000000000000000" pitchFamily="2" charset="2"/>
              <a:buChar char="ü"/>
            </a:pPr>
            <a:r>
              <a:rPr lang="it-IT" sz="1050" dirty="0"/>
              <a:t>ARSA</a:t>
            </a:r>
          </a:p>
        </p:txBody>
      </p:sp>
      <p:sp>
        <p:nvSpPr>
          <p:cNvPr id="25" name="Rettangolo 24">
            <a:extLst>
              <a:ext uri="{FF2B5EF4-FFF2-40B4-BE49-F238E27FC236}">
                <a16:creationId xmlns:a16="http://schemas.microsoft.com/office/drawing/2014/main" id="{A5F0A75F-5E6D-0552-E68D-55F1F89892F0}"/>
              </a:ext>
            </a:extLst>
          </p:cNvPr>
          <p:cNvSpPr/>
          <p:nvPr/>
        </p:nvSpPr>
        <p:spPr>
          <a:xfrm>
            <a:off x="1803900" y="5025233"/>
            <a:ext cx="2809416" cy="1685077"/>
          </a:xfrm>
          <a:prstGeom prst="rect">
            <a:avLst/>
          </a:prstGeom>
        </p:spPr>
        <p:txBody>
          <a:bodyPr wrap="square">
            <a:spAutoFit/>
          </a:bodyPr>
          <a:lstStyle/>
          <a:p>
            <a:pPr marL="671505" lvl="1" indent="-214305">
              <a:spcBef>
                <a:spcPts val="600"/>
              </a:spcBef>
              <a:buFont typeface="Wingdings" panose="05000000000000000000" pitchFamily="2" charset="2"/>
              <a:buChar char="ü"/>
            </a:pPr>
            <a:r>
              <a:rPr lang="it-IT" sz="1050" dirty="0"/>
              <a:t>ALPE BACCO                                      </a:t>
            </a:r>
          </a:p>
          <a:p>
            <a:pPr marL="671505" lvl="1" indent="-214305">
              <a:spcBef>
                <a:spcPts val="600"/>
              </a:spcBef>
              <a:buFont typeface="Wingdings" panose="05000000000000000000" pitchFamily="2" charset="2"/>
              <a:buChar char="ü"/>
            </a:pPr>
            <a:r>
              <a:rPr lang="it-IT" sz="1050" dirty="0"/>
              <a:t>ORNAVASSO</a:t>
            </a:r>
          </a:p>
          <a:p>
            <a:pPr marL="671505" lvl="1" indent="-214305">
              <a:spcBef>
                <a:spcPts val="600"/>
              </a:spcBef>
              <a:buFont typeface="Wingdings" panose="05000000000000000000" pitchFamily="2" charset="2"/>
              <a:buChar char="ü"/>
            </a:pPr>
            <a:r>
              <a:rPr lang="it-IT" sz="1050" dirty="0"/>
              <a:t>ROVEGRO</a:t>
            </a:r>
          </a:p>
          <a:p>
            <a:pPr marL="671505" lvl="1" indent="-214305">
              <a:spcBef>
                <a:spcPts val="600"/>
              </a:spcBef>
              <a:buFont typeface="Wingdings" panose="05000000000000000000" pitchFamily="2" charset="2"/>
              <a:buChar char="ü"/>
            </a:pPr>
            <a:r>
              <a:rPr lang="it-IT" sz="1050" dirty="0"/>
              <a:t>ROSAROLO</a:t>
            </a:r>
          </a:p>
          <a:p>
            <a:pPr marL="671505" lvl="1" indent="-214305">
              <a:spcBef>
                <a:spcPts val="600"/>
              </a:spcBef>
              <a:buFont typeface="Wingdings" panose="05000000000000000000" pitchFamily="2" charset="2"/>
              <a:buChar char="ü"/>
            </a:pPr>
            <a:r>
              <a:rPr lang="it-IT" sz="1050" dirty="0"/>
              <a:t>MARMO </a:t>
            </a:r>
          </a:p>
          <a:p>
            <a:pPr marL="671505" lvl="1" indent="-214305">
              <a:spcBef>
                <a:spcPts val="600"/>
              </a:spcBef>
              <a:buFont typeface="Wingdings" panose="05000000000000000000" pitchFamily="2" charset="2"/>
              <a:buChar char="ü"/>
            </a:pPr>
            <a:r>
              <a:rPr lang="it-IT" sz="1050" dirty="0"/>
              <a:t>FRUA</a:t>
            </a:r>
          </a:p>
          <a:p>
            <a:pPr marL="671505" lvl="1" indent="-214305">
              <a:spcBef>
                <a:spcPts val="600"/>
              </a:spcBef>
              <a:buFont typeface="Wingdings" panose="05000000000000000000" pitchFamily="2" charset="2"/>
              <a:buChar char="ü"/>
            </a:pPr>
            <a:r>
              <a:rPr lang="it-IT" sz="1050" dirty="0"/>
              <a:t>SAN GIUSEPPE</a:t>
            </a:r>
          </a:p>
        </p:txBody>
      </p:sp>
      <p:sp>
        <p:nvSpPr>
          <p:cNvPr id="26" name="Rettangolo 25">
            <a:extLst>
              <a:ext uri="{FF2B5EF4-FFF2-40B4-BE49-F238E27FC236}">
                <a16:creationId xmlns:a16="http://schemas.microsoft.com/office/drawing/2014/main" id="{E8BBF6DF-F651-399A-49EB-2865AF56FD8B}"/>
              </a:ext>
            </a:extLst>
          </p:cNvPr>
          <p:cNvSpPr/>
          <p:nvPr/>
        </p:nvSpPr>
        <p:spPr>
          <a:xfrm>
            <a:off x="3468745" y="5025233"/>
            <a:ext cx="2809416" cy="1208023"/>
          </a:xfrm>
          <a:prstGeom prst="rect">
            <a:avLst/>
          </a:prstGeom>
        </p:spPr>
        <p:txBody>
          <a:bodyPr wrap="square">
            <a:spAutoFit/>
          </a:bodyPr>
          <a:lstStyle/>
          <a:p>
            <a:pPr marL="671505" lvl="1" indent="-214305">
              <a:spcBef>
                <a:spcPts val="600"/>
              </a:spcBef>
              <a:buFont typeface="Wingdings" panose="05000000000000000000" pitchFamily="2" charset="2"/>
              <a:buChar char="ü"/>
            </a:pPr>
            <a:r>
              <a:rPr lang="it-IT" sz="1050" dirty="0"/>
              <a:t>QUARNA                                     </a:t>
            </a:r>
          </a:p>
          <a:p>
            <a:pPr marL="671505" lvl="1" indent="-214305">
              <a:spcBef>
                <a:spcPts val="600"/>
              </a:spcBef>
              <a:buFont typeface="Wingdings" panose="05000000000000000000" pitchFamily="2" charset="2"/>
              <a:buChar char="ü"/>
            </a:pPr>
            <a:r>
              <a:rPr lang="it-IT" sz="1050" dirty="0"/>
              <a:t>BROLO</a:t>
            </a:r>
          </a:p>
          <a:p>
            <a:pPr marL="671505" lvl="1" indent="-214305">
              <a:spcBef>
                <a:spcPts val="600"/>
              </a:spcBef>
              <a:buFont typeface="Wingdings" panose="05000000000000000000" pitchFamily="2" charset="2"/>
              <a:buChar char="ü"/>
            </a:pPr>
            <a:r>
              <a:rPr lang="it-IT" sz="1050" dirty="0"/>
              <a:t>FERVENTO</a:t>
            </a:r>
          </a:p>
          <a:p>
            <a:pPr lvl="1">
              <a:spcBef>
                <a:spcPts val="600"/>
              </a:spcBef>
            </a:pPr>
            <a:endParaRPr lang="it-IT" sz="1050" dirty="0"/>
          </a:p>
          <a:p>
            <a:pPr lvl="1">
              <a:spcBef>
                <a:spcPts val="600"/>
              </a:spcBef>
            </a:pPr>
            <a:endParaRPr lang="it-IT" sz="1050" dirty="0"/>
          </a:p>
        </p:txBody>
      </p:sp>
      <p:sp>
        <p:nvSpPr>
          <p:cNvPr id="27" name="Rettangolo con angoli arrotondati 26">
            <a:extLst>
              <a:ext uri="{FF2B5EF4-FFF2-40B4-BE49-F238E27FC236}">
                <a16:creationId xmlns:a16="http://schemas.microsoft.com/office/drawing/2014/main" id="{28006D74-C4E7-C86F-5BAF-157BF7E50696}"/>
              </a:ext>
            </a:extLst>
          </p:cNvPr>
          <p:cNvSpPr/>
          <p:nvPr/>
        </p:nvSpPr>
        <p:spPr>
          <a:xfrm>
            <a:off x="139054" y="4603286"/>
            <a:ext cx="5391901" cy="2107024"/>
          </a:xfrm>
          <a:prstGeom prst="roundRect">
            <a:avLst/>
          </a:prstGeom>
          <a:solidFill>
            <a:srgbClr val="FFC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Tree>
    <p:extLst>
      <p:ext uri="{BB962C8B-B14F-4D97-AF65-F5344CB8AC3E}">
        <p14:creationId xmlns:p14="http://schemas.microsoft.com/office/powerpoint/2010/main" val="2439564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FD447-7716-E85D-21CE-2A442D2770B8}"/>
            </a:ext>
          </a:extLst>
        </p:cNvPr>
        <p:cNvGrpSpPr/>
        <p:nvPr/>
      </p:nvGrpSpPr>
      <p:grpSpPr>
        <a:xfrm>
          <a:off x="0" y="0"/>
          <a:ext cx="0" cy="0"/>
          <a:chOff x="0" y="0"/>
          <a:chExt cx="0" cy="0"/>
        </a:xfrm>
      </p:grpSpPr>
      <p:sp>
        <p:nvSpPr>
          <p:cNvPr id="7" name="Titolo 6">
            <a:extLst>
              <a:ext uri="{FF2B5EF4-FFF2-40B4-BE49-F238E27FC236}">
                <a16:creationId xmlns:a16="http://schemas.microsoft.com/office/drawing/2014/main" id="{6A24858F-5157-93AE-5471-653C452ABDEA}"/>
              </a:ext>
            </a:extLst>
          </p:cNvPr>
          <p:cNvSpPr>
            <a:spLocks noGrp="1"/>
          </p:cNvSpPr>
          <p:nvPr>
            <p:ph type="title"/>
          </p:nvPr>
        </p:nvSpPr>
        <p:spPr>
          <a:xfrm>
            <a:off x="691422" y="405576"/>
            <a:ext cx="8375651" cy="394980"/>
          </a:xfrm>
        </p:spPr>
        <p:txBody>
          <a:bodyPr/>
          <a:lstStyle/>
          <a:p>
            <a:r>
              <a:rPr lang="it-IT" dirty="0"/>
              <a:t>ANW – UT DOMO</a:t>
            </a:r>
          </a:p>
        </p:txBody>
      </p:sp>
      <p:sp>
        <p:nvSpPr>
          <p:cNvPr id="8" name="Segnaposto testo 7">
            <a:extLst>
              <a:ext uri="{FF2B5EF4-FFF2-40B4-BE49-F238E27FC236}">
                <a16:creationId xmlns:a16="http://schemas.microsoft.com/office/drawing/2014/main" id="{C7ECD311-107A-75F9-8AAF-8C0D9543F969}"/>
              </a:ext>
            </a:extLst>
          </p:cNvPr>
          <p:cNvSpPr>
            <a:spLocks noGrp="1"/>
          </p:cNvSpPr>
          <p:nvPr>
            <p:ph type="body" sz="quarter" idx="13"/>
          </p:nvPr>
        </p:nvSpPr>
        <p:spPr>
          <a:xfrm>
            <a:off x="708862" y="744270"/>
            <a:ext cx="8375651" cy="276999"/>
          </a:xfrm>
        </p:spPr>
        <p:txBody>
          <a:bodyPr/>
          <a:lstStyle/>
          <a:p>
            <a:pPr lvl="0" defTabSz="894372">
              <a:buClr>
                <a:schemeClr val="tx2"/>
              </a:buClr>
            </a:pPr>
            <a:r>
              <a:rPr lang="it-IT" sz="1800" kern="0" dirty="0">
                <a:ea typeface="Arial Unicode MS" pitchFamily="34" charset="-128"/>
                <a:cs typeface="Arial Unicode MS" pitchFamily="34" charset="-128"/>
              </a:rPr>
              <a:t>Impianti del perimetro UT DOMO – OU PALLANZENO 2/2</a:t>
            </a:r>
            <a:endParaRPr lang="en-US" sz="1800" kern="0" dirty="0">
              <a:ea typeface="Arial Unicode MS" pitchFamily="34" charset="-128"/>
              <a:cs typeface="Arial Unicode MS" pitchFamily="34" charset="-128"/>
            </a:endParaRPr>
          </a:p>
          <a:p>
            <a:endParaRPr lang="it-IT" sz="1800" dirty="0"/>
          </a:p>
        </p:txBody>
      </p:sp>
      <p:sp>
        <p:nvSpPr>
          <p:cNvPr id="31" name="Segnaposto numero diapositiva 1">
            <a:extLst>
              <a:ext uri="{FF2B5EF4-FFF2-40B4-BE49-F238E27FC236}">
                <a16:creationId xmlns:a16="http://schemas.microsoft.com/office/drawing/2014/main" id="{5B3ECF74-FBF5-604E-DD17-E1400740DB7D}"/>
              </a:ext>
            </a:extLst>
          </p:cNvPr>
          <p:cNvSpPr>
            <a:spLocks noGrp="1"/>
          </p:cNvSpPr>
          <p:nvPr>
            <p:ph type="sldNum" sz="quarter" idx="12"/>
          </p:nvPr>
        </p:nvSpPr>
        <p:spPr>
          <a:xfrm>
            <a:off x="10664825" y="6264005"/>
            <a:ext cx="762000" cy="153888"/>
          </a:xfrm>
        </p:spPr>
        <p:txBody>
          <a:bodyPr/>
          <a:lstStyle/>
          <a:p>
            <a:fld id="{1ED2235E-0982-3B42-A838-A74550CD4449}" type="slidenum">
              <a:rPr lang="en-GB" smtClean="0"/>
              <a:pPr/>
              <a:t>7</a:t>
            </a:fld>
            <a:endParaRPr lang="en-GB" dirty="0"/>
          </a:p>
        </p:txBody>
      </p:sp>
      <p:pic>
        <p:nvPicPr>
          <p:cNvPr id="21" name="Immagine 20">
            <a:extLst>
              <a:ext uri="{FF2B5EF4-FFF2-40B4-BE49-F238E27FC236}">
                <a16:creationId xmlns:a16="http://schemas.microsoft.com/office/drawing/2014/main" id="{51C0CA12-4626-4E23-EC6E-034D1ECCBF6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950" y="266701"/>
            <a:ext cx="1286140" cy="936310"/>
          </a:xfrm>
          <a:prstGeom prst="rect">
            <a:avLst/>
          </a:prstGeom>
        </p:spPr>
      </p:pic>
      <p:sp>
        <p:nvSpPr>
          <p:cNvPr id="35" name="Rettangolo 34">
            <a:extLst>
              <a:ext uri="{FF2B5EF4-FFF2-40B4-BE49-F238E27FC236}">
                <a16:creationId xmlns:a16="http://schemas.microsoft.com/office/drawing/2014/main" id="{B6D9F27F-FA41-4C89-D8D9-8B9BAE416F66}"/>
              </a:ext>
            </a:extLst>
          </p:cNvPr>
          <p:cNvSpPr/>
          <p:nvPr/>
        </p:nvSpPr>
        <p:spPr>
          <a:xfrm>
            <a:off x="393041" y="406859"/>
            <a:ext cx="215399" cy="688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t-IT" sz="2000" dirty="0" err="1"/>
          </a:p>
        </p:txBody>
      </p:sp>
      <p:sp>
        <p:nvSpPr>
          <p:cNvPr id="2" name="CasellaDiTesto 1">
            <a:extLst>
              <a:ext uri="{FF2B5EF4-FFF2-40B4-BE49-F238E27FC236}">
                <a16:creationId xmlns:a16="http://schemas.microsoft.com/office/drawing/2014/main" id="{3EEE594B-CCF8-9F52-EF7A-6911760929FB}"/>
              </a:ext>
            </a:extLst>
          </p:cNvPr>
          <p:cNvSpPr txBox="1"/>
          <p:nvPr/>
        </p:nvSpPr>
        <p:spPr>
          <a:xfrm>
            <a:off x="608440" y="1433609"/>
            <a:ext cx="10244802" cy="2369880"/>
          </a:xfrm>
          <a:prstGeom prst="rect">
            <a:avLst/>
          </a:prstGeom>
          <a:noFill/>
        </p:spPr>
        <p:txBody>
          <a:bodyPr wrap="square" lIns="0" tIns="0" rIns="0" bIns="0" rtlCol="0">
            <a:spAutoFit/>
          </a:bodyPr>
          <a:lstStyle/>
          <a:p>
            <a:r>
              <a:rPr lang="it-IT" sz="1100" dirty="0"/>
              <a:t>l reparto operativo di Pallanzeno si distingue come il più rilevante dell’Unità Territoriale di Domodossola, sia per la sua vasta estensione chilometrica che per l’elevato numero e la varietà degli impianti gestiti. Uno dei suoi fulcri produttivo è situato nella Valle Antrona, dove l’attività ha inizio in alta quota all'interno di un'area naturale protetta grazie alle dighe di Camposecco e </a:t>
            </a:r>
            <a:r>
              <a:rPr lang="it-IT" sz="1100" dirty="0" err="1"/>
              <a:t>Cingino</a:t>
            </a:r>
            <a:r>
              <a:rPr lang="it-IT" sz="1100" dirty="0"/>
              <a:t>. Questi due invasi, seppur distinti, sono strettamente collegati poiché alimentano entrambi la sottostante centrale di Campliccioli; in particolare, la diga del </a:t>
            </a:r>
            <a:r>
              <a:rPr lang="it-IT" sz="1100" dirty="0" err="1"/>
              <a:t>Cingino</a:t>
            </a:r>
            <a:r>
              <a:rPr lang="it-IT" sz="1100" dirty="0"/>
              <a:t> rappresenta una delle tre dighe stagionali dell'Ossola, caratterizzata da un ciclo che prevede l’invaso nel periodo estivo e lo svuotamento tramite produzione idroelettrica durante l'autunno.</a:t>
            </a:r>
          </a:p>
          <a:p>
            <a:r>
              <a:rPr lang="it-IT" sz="1100" dirty="0"/>
              <a:t>A valle di questo primo impianto si trova la diga di Campliccioli, situata nei pressi del lago di Antrona, mentre in una valle parallela il sistema integra la diga Cavalli, inserita in un contesto fortemente turistico soprattutto in estate. La risorsa idrica di questi quattro invasi viene convogliata verso la centrale di Rovesca, nel comune di Antrona Schieranco, un edificio di notevole interesse anche sotto il profilo architettonico. Il percorso dell'acqua prosegue poi in un canale che raccoglie gli scarichi di Rovesca per turbinare l’acqua un'ultima volta nel fondovalle presso la centrale di Pallanzeno, prima </a:t>
            </a:r>
            <a:r>
              <a:rPr lang="it-IT" sz="1100"/>
              <a:t>di restituirla </a:t>
            </a:r>
            <a:r>
              <a:rPr lang="it-IT" sz="1100" dirty="0"/>
              <a:t>definitivamente al fiume Toce. Quest'ultimo sito riveste un ruolo strategico fondamentale, poiché oltre alla produzione ospita gli uffici dell'unità operativa e il nucleo specialistico per la manutenzione civile ed elettromeccanica del nord Piemonte, condividendo inoltre il proprio perimetro con la sede locale di TERNA spa.</a:t>
            </a:r>
          </a:p>
          <a:p>
            <a:endParaRPr lang="it-IT" sz="1100" dirty="0"/>
          </a:p>
          <a:p>
            <a:endParaRPr lang="it-IT" sz="1100" dirty="0"/>
          </a:p>
          <a:p>
            <a:endParaRPr lang="it-IT" sz="1100" dirty="0"/>
          </a:p>
        </p:txBody>
      </p:sp>
      <p:sp>
        <p:nvSpPr>
          <p:cNvPr id="6" name="CasellaDiTesto 5">
            <a:extLst>
              <a:ext uri="{FF2B5EF4-FFF2-40B4-BE49-F238E27FC236}">
                <a16:creationId xmlns:a16="http://schemas.microsoft.com/office/drawing/2014/main" id="{8345BFC4-D107-DFBF-1287-E3F518A3867F}"/>
              </a:ext>
            </a:extLst>
          </p:cNvPr>
          <p:cNvSpPr txBox="1"/>
          <p:nvPr/>
        </p:nvSpPr>
        <p:spPr>
          <a:xfrm>
            <a:off x="608440" y="3429000"/>
            <a:ext cx="10244802" cy="1862048"/>
          </a:xfrm>
          <a:prstGeom prst="rect">
            <a:avLst/>
          </a:prstGeom>
          <a:noFill/>
        </p:spPr>
        <p:txBody>
          <a:bodyPr wrap="square" lIns="0" tIns="0" rIns="0" bIns="0" rtlCol="0">
            <a:spAutoFit/>
          </a:bodyPr>
          <a:lstStyle/>
          <a:p>
            <a:r>
              <a:rPr lang="it-IT" sz="1100" dirty="0"/>
              <a:t>Il sistema si estende poi nella vicina Valle Anzasca con le traverse di Calasca e Battiggio, che alimentano rispettivamente le centrali di Piedimulera e Pieve Vergonte II, quest'ultima di più recente costruzione. Lungo il percorso del Toce si incontrano la centrale di Arsa, le piccole derivazioni di Alpe Bacco e Ornavasso, e la centrale di Rovegro, immersa nell'area wilderness del Parco Nazionale della Val Grande. Spostandosi verso la Valle Strona, nei pressi di Omegna, opera un sistema a cascata (Rosarolo, Marmo, </a:t>
            </a:r>
            <a:r>
              <a:rPr lang="it-IT" sz="1100" dirty="0" err="1"/>
              <a:t>Frua</a:t>
            </a:r>
            <a:r>
              <a:rPr lang="it-IT" sz="1100" dirty="0"/>
              <a:t> e San Giuseppe) che scarica nel Lago d’Orta insieme alla piccola asta di Quarna-Brolo. L'unico impianto fuori provincia è la diga di Rimasco, nel vercellese, che alimenta la centrale di Fervento; pur avendo una capacità modesta, questa diga nazionale richiede un monitoraggio costante per la gestione delle piene improvvise causate dai temporali estivi. Infine, a supporto delle attività in alta quota nella Valle Antrona, sono operative due funivie ammodernate che collegano la diga di Campliccioli agli invasi di Camposecco e </a:t>
            </a:r>
            <a:r>
              <a:rPr lang="it-IT" sz="1100" dirty="0" err="1"/>
              <a:t>Cingino</a:t>
            </a:r>
            <a:r>
              <a:rPr lang="it-IT" sz="1100" dirty="0"/>
              <a:t> per il trasporto dei guardiani.</a:t>
            </a:r>
          </a:p>
          <a:p>
            <a:r>
              <a:rPr lang="it-IT" sz="1100" dirty="0"/>
              <a:t> </a:t>
            </a:r>
          </a:p>
          <a:p>
            <a:endParaRPr lang="it-IT" sz="1100" dirty="0"/>
          </a:p>
          <a:p>
            <a:endParaRPr lang="it-IT" sz="1100" dirty="0"/>
          </a:p>
          <a:p>
            <a:endParaRPr lang="it-IT" sz="1100" dirty="0"/>
          </a:p>
        </p:txBody>
      </p:sp>
    </p:spTree>
    <p:extLst>
      <p:ext uri="{BB962C8B-B14F-4D97-AF65-F5344CB8AC3E}">
        <p14:creationId xmlns:p14="http://schemas.microsoft.com/office/powerpoint/2010/main" val="1013650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GP Template v2.7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PG_PPTtemplate_v2-7[JPEG+VECTORLOGO]" id="{57611767-F261-BD4B-84E0-9D325519CB8C}" vid="{44F083EA-52AA-554D-87A9-B498B76F92E5}"/>
    </a:ext>
  </a:extLst>
</a:theme>
</file>

<file path=ppt/theme/theme2.xml><?xml version="1.0" encoding="utf-8"?>
<a:theme xmlns:a="http://schemas.openxmlformats.org/drawingml/2006/main" name="1_EGP Template v2.7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PG_PPTtemplate_v2-7[JPEG+VECTORLOGO]" id="{57611767-F261-BD4B-84E0-9D325519CB8C}" vid="{44F083EA-52AA-554D-87A9-B498B76F92E5}"/>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6FE6CA9E0866246836D919FA5B138F4" ma:contentTypeVersion="0" ma:contentTypeDescription="Creare un nuovo documento." ma:contentTypeScope="" ma:versionID="0efd5e2190e8e402f1df2aa21588220d">
  <xsd:schema xmlns:xsd="http://www.w3.org/2001/XMLSchema" xmlns:xs="http://www.w3.org/2001/XMLSchema" xmlns:p="http://schemas.microsoft.com/office/2006/metadata/properties" xmlns:ns2="0625d959-4994-41fa-8d1d-6611e9f3b3a1" targetNamespace="http://schemas.microsoft.com/office/2006/metadata/properties" ma:root="true" ma:fieldsID="ac92422d08184cd1b9289e2bcf9360c4" ns2:_="">
    <xsd:import namespace="0625d959-4994-41fa-8d1d-6611e9f3b3a1"/>
    <xsd:element name="properties">
      <xsd:complexType>
        <xsd:sequence>
          <xsd:element name="documentManagement">
            <xsd:complexType>
              <xsd:all>
                <xsd:element ref="ns2:CKS_Unique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25d959-4994-41fa-8d1d-6611e9f3b3a1" elementFormDefault="qualified">
    <xsd:import namespace="http://schemas.microsoft.com/office/2006/documentManagement/types"/>
    <xsd:import namespace="http://schemas.microsoft.com/office/infopath/2007/PartnerControls"/>
    <xsd:element name="CKS_UniqueId" ma:index="8" nillable="true" ma:displayName="CKS UniqueId" ma:default="NOT CODED" ma:description="Site Column created by using Powershell for CKS WebArt" ma:internalName="CKS_UniqueId">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bdecaab9-ab91-4376-a8e5-d9967f2c5004" ContentTypeId="0x01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CKS_UniqueId xmlns="0625d959-4994-41fa-8d1d-6611e9f3b3a1">3160380e-db0c-4d35-b979-b066ebec8b55</CKS_UniqueId>
  </documentManagement>
</p:properties>
</file>

<file path=customXml/itemProps1.xml><?xml version="1.0" encoding="utf-8"?>
<ds:datastoreItem xmlns:ds="http://schemas.openxmlformats.org/officeDocument/2006/customXml" ds:itemID="{96A4017C-FF13-4F53-8765-72084D16C0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25d959-4994-41fa-8d1d-6611e9f3b3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8028F56-592A-41F8-AE6F-7EDD50F51053}">
  <ds:schemaRefs>
    <ds:schemaRef ds:uri="Microsoft.SharePoint.Taxonomy.ContentTypeSync"/>
  </ds:schemaRefs>
</ds:datastoreItem>
</file>

<file path=customXml/itemProps3.xml><?xml version="1.0" encoding="utf-8"?>
<ds:datastoreItem xmlns:ds="http://schemas.openxmlformats.org/officeDocument/2006/customXml" ds:itemID="{19439052-B946-44A1-A9FC-119BD1CAFEC1}">
  <ds:schemaRefs>
    <ds:schemaRef ds:uri="http://schemas.microsoft.com/sharepoint/v3/contenttype/forms"/>
  </ds:schemaRefs>
</ds:datastoreItem>
</file>

<file path=customXml/itemProps4.xml><?xml version="1.0" encoding="utf-8"?>
<ds:datastoreItem xmlns:ds="http://schemas.openxmlformats.org/officeDocument/2006/customXml" ds:itemID="{0036F9BA-5A08-4D5C-B617-A182483C9DCD}">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0625d959-4994-41fa-8d1d-6611e9f3b3a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247</TotalTime>
  <Words>1583</Words>
  <Application>Microsoft Office PowerPoint</Application>
  <PresentationFormat>Widescreen</PresentationFormat>
  <Paragraphs>107</Paragraphs>
  <Slides>7</Slides>
  <Notes>6</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7</vt:i4>
      </vt:variant>
    </vt:vector>
  </HeadingPairs>
  <TitlesOfParts>
    <vt:vector size="16" baseType="lpstr">
      <vt:lpstr>Arial</vt:lpstr>
      <vt:lpstr>Arial Narrow</vt:lpstr>
      <vt:lpstr>Arial Unicode MS</vt:lpstr>
      <vt:lpstr>Calibri</vt:lpstr>
      <vt:lpstr>Lucida Grande</vt:lpstr>
      <vt:lpstr>Wingdings</vt:lpstr>
      <vt:lpstr>EGP Template v2.7 [JPEG+VECTOR LOGO]</vt:lpstr>
      <vt:lpstr>1_EGP Template v2.7 [JPEG+VECTOR LOGO]</vt:lpstr>
      <vt:lpstr>Diapositiva think-cell</vt:lpstr>
      <vt:lpstr>O&amp;M Italy Area Nord Ovest Impianti &amp; Organizzazione </vt:lpstr>
      <vt:lpstr>ANW – UT DOMO</vt:lpstr>
      <vt:lpstr>ANW – UT DOMO</vt:lpstr>
      <vt:lpstr>ANW – UT DOMO</vt:lpstr>
      <vt:lpstr>ANW – UT DOMO</vt:lpstr>
      <vt:lpstr>ANW – UT DOMO</vt:lpstr>
      <vt:lpstr>ANW – UT DOMO</vt:lpstr>
    </vt:vector>
  </TitlesOfParts>
  <Company>Enel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Patrizi Domenico (GX HSE&amp;Q)</dc:creator>
  <cp:lastModifiedBy>Olivotto Marco (EGP&amp;TGX HGT)</cp:lastModifiedBy>
  <cp:revision>775</cp:revision>
  <cp:lastPrinted>2019-01-22T17:03:56Z</cp:lastPrinted>
  <dcterms:created xsi:type="dcterms:W3CDTF">2018-05-04T13:42:53Z</dcterms:created>
  <dcterms:modified xsi:type="dcterms:W3CDTF">2026-02-11T09:1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FE6CA9E0866246836D919FA5B138F4</vt:lpwstr>
  </property>
  <property fmtid="{D5CDD505-2E9C-101B-9397-08002B2CF9AE}" pid="3" name="MSIP_Label_797ad33d-ed35-43c0-b526-22bc83c17deb_Enabled">
    <vt:lpwstr>true</vt:lpwstr>
  </property>
  <property fmtid="{D5CDD505-2E9C-101B-9397-08002B2CF9AE}" pid="4" name="MSIP_Label_797ad33d-ed35-43c0-b526-22bc83c17deb_SetDate">
    <vt:lpwstr>2021-09-22T08:50:12Z</vt:lpwstr>
  </property>
  <property fmtid="{D5CDD505-2E9C-101B-9397-08002B2CF9AE}" pid="5" name="MSIP_Label_797ad33d-ed35-43c0-b526-22bc83c17deb_Method">
    <vt:lpwstr>Standard</vt:lpwstr>
  </property>
  <property fmtid="{D5CDD505-2E9C-101B-9397-08002B2CF9AE}" pid="6" name="MSIP_Label_797ad33d-ed35-43c0-b526-22bc83c17deb_Name">
    <vt:lpwstr>797ad33d-ed35-43c0-b526-22bc83c17deb</vt:lpwstr>
  </property>
  <property fmtid="{D5CDD505-2E9C-101B-9397-08002B2CF9AE}" pid="7" name="MSIP_Label_797ad33d-ed35-43c0-b526-22bc83c17deb_SiteId">
    <vt:lpwstr>d539d4bf-5610-471a-afc2-1c76685cfefa</vt:lpwstr>
  </property>
  <property fmtid="{D5CDD505-2E9C-101B-9397-08002B2CF9AE}" pid="8" name="MSIP_Label_797ad33d-ed35-43c0-b526-22bc83c17deb_ActionId">
    <vt:lpwstr>275477e5-acf9-47ef-a317-b5f8134fa5a1</vt:lpwstr>
  </property>
  <property fmtid="{D5CDD505-2E9C-101B-9397-08002B2CF9AE}" pid="9" name="MSIP_Label_797ad33d-ed35-43c0-b526-22bc83c17deb_ContentBits">
    <vt:lpwstr>1</vt:lpwstr>
  </property>
</Properties>
</file>